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 id="2147483771" r:id="rId7"/>
  </p:sldMasterIdLst>
  <p:notesMasterIdLst>
    <p:notesMasterId r:id="rId29"/>
  </p:notesMasterIdLst>
  <p:handoutMasterIdLst>
    <p:handoutMasterId r:id="rId30"/>
  </p:handoutMasterIdLst>
  <p:sldIdLst>
    <p:sldId id="526" r:id="rId8"/>
    <p:sldId id="527" r:id="rId9"/>
    <p:sldId id="433" r:id="rId10"/>
    <p:sldId id="485" r:id="rId11"/>
    <p:sldId id="519" r:id="rId12"/>
    <p:sldId id="520" r:id="rId13"/>
    <p:sldId id="521" r:id="rId14"/>
    <p:sldId id="522" r:id="rId15"/>
    <p:sldId id="523" r:id="rId16"/>
    <p:sldId id="530" r:id="rId17"/>
    <p:sldId id="496" r:id="rId18"/>
    <p:sldId id="497" r:id="rId19"/>
    <p:sldId id="517" r:id="rId20"/>
    <p:sldId id="518" r:id="rId21"/>
    <p:sldId id="481" r:id="rId22"/>
    <p:sldId id="419" r:id="rId23"/>
    <p:sldId id="525" r:id="rId24"/>
    <p:sldId id="495" r:id="rId25"/>
    <p:sldId id="494" r:id="rId26"/>
    <p:sldId id="532" r:id="rId27"/>
    <p:sldId id="529" r:id="rId28"/>
  </p:sldIdLst>
  <p:sldSz cx="12188825" cy="6858000"/>
  <p:notesSz cx="6858000" cy="9296400"/>
  <p:custDataLst>
    <p:tags r:id="rId3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7" autoAdjust="0"/>
    <p:restoredTop sz="77954" autoAdjust="0"/>
  </p:normalViewPr>
  <p:slideViewPr>
    <p:cSldViewPr snapToGrid="0">
      <p:cViewPr varScale="1">
        <p:scale>
          <a:sx n="61" d="100"/>
          <a:sy n="61" d="100"/>
        </p:scale>
        <p:origin x="1242" y="72"/>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0/9/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0/9/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29291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72481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0D046133-B40E-4F18-BD39-DC756E7BE64C}" type="datetime8">
              <a:rPr lang="en-US" smtClean="0"/>
              <a:t>10/9/2013 9:1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4872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EEDF3C4D-D87C-4908-890C-F1AD6E39936D}" type="datetime8">
              <a:rPr lang="en-US" smtClean="0"/>
              <a:t>10/9/2013 9:1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14858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10/9/2013 9:1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85250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124998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6" name="Date Placeholder 5"/>
          <p:cNvSpPr>
            <a:spLocks noGrp="1"/>
          </p:cNvSpPr>
          <p:nvPr>
            <p:ph type="dt" idx="10"/>
          </p:nvPr>
        </p:nvSpPr>
        <p:spPr/>
        <p:txBody>
          <a:bodyPr/>
          <a:lstStyle/>
          <a:p>
            <a:fld id="{51CE3BB4-AC9E-4243-9B0E-69D5AFF7BD13}" type="datetime1">
              <a:rPr lang="en-US" smtClean="0"/>
              <a:t>10/9/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B4008EB6-D09E-4580-8CD6-DDB14511944F}" type="slidenum">
              <a:rPr lang="en-US" smtClean="0"/>
              <a:pPr/>
              <a:t>21</a:t>
            </a:fld>
            <a:endParaRPr lang="en-US" dirty="0"/>
          </a:p>
        </p:txBody>
      </p:sp>
      <p:sp>
        <p:nvSpPr>
          <p:cNvPr id="11" name="Header Placeholder 10"/>
          <p:cNvSpPr>
            <a:spLocks noGrp="1"/>
          </p:cNvSpPr>
          <p:nvPr>
            <p:ph type="hdr" sz="quarter" idx="13"/>
          </p:nvPr>
        </p:nvSpPr>
        <p:spPr/>
        <p:txBody>
          <a:bodyPr/>
          <a:lstStyle/>
          <a:p>
            <a:r>
              <a:rPr lang="en-US" dirty="0" smtClean="0"/>
              <a:t>Microsoft Research</a:t>
            </a:r>
            <a:endParaRPr lang="en-US" dirty="0"/>
          </a:p>
        </p:txBody>
      </p:sp>
    </p:spTree>
    <p:extLst>
      <p:ext uri="{BB962C8B-B14F-4D97-AF65-F5344CB8AC3E}">
        <p14:creationId xmlns:p14="http://schemas.microsoft.com/office/powerpoint/2010/main" val="3515032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855776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Key point – MS big data solution is more than just </a:t>
            </a:r>
            <a:r>
              <a:rPr lang="en-US" dirty="0" err="1" smtClean="0"/>
              <a:t>Hadoop</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016912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77715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16601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Header Placeholder 3"/>
          <p:cNvSpPr>
            <a:spLocks noGrp="1"/>
          </p:cNvSpPr>
          <p:nvPr>
            <p:ph type="hdr" sz="quarter" idx="10"/>
          </p:nvPr>
        </p:nvSpPr>
        <p:spPr/>
        <p:txBody>
          <a:bodyPr/>
          <a:lstStyle/>
          <a:p>
            <a:r>
              <a:rPr lang="en-US" smtClean="0"/>
              <a:t>TechReady13</a:t>
            </a:r>
          </a:p>
        </p:txBody>
      </p:sp>
      <p:sp>
        <p:nvSpPr>
          <p:cNvPr id="5" name="Date Placeholder 4"/>
          <p:cNvSpPr>
            <a:spLocks noGrp="1"/>
          </p:cNvSpPr>
          <p:nvPr>
            <p:ph type="dt" idx="11"/>
          </p:nvPr>
        </p:nvSpPr>
        <p:spPr/>
        <p:txBody>
          <a:bodyPr/>
          <a:lstStyle/>
          <a:p>
            <a:fld id="{F59FFCD0-5595-4842-AA06-9F04EA1E8EDE}" type="datetime1">
              <a:rPr lang="en-US" smtClean="0"/>
              <a:t>10/9/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9809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56911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cs typeface="Arial" charset="0"/>
              </a:rPr>
              <a:pPr/>
              <a:t>10/9/2013 9:17 PM</a:t>
            </a:fld>
            <a:endParaRPr lang="en-US" dirty="0" smtClean="0">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cs typeface="Arial" charset="0"/>
              </a:rPr>
              <a:pPr/>
              <a:t>9</a:t>
            </a:fld>
            <a:endParaRPr lang="en-US" dirty="0" smtClean="0">
              <a:cs typeface="Arial" charset="0"/>
            </a:endParaRPr>
          </a:p>
        </p:txBody>
      </p:sp>
      <p:sp>
        <p:nvSpPr>
          <p:cNvPr id="36869" name="Rectangle 2"/>
          <p:cNvSpPr>
            <a:spLocks noGrp="1" noRot="1" noChangeAspect="1" noChangeArrowheads="1" noTextEdit="1"/>
          </p:cNvSpPr>
          <p:nvPr>
            <p:ph type="sldImg"/>
          </p:nvPr>
        </p:nvSpPr>
        <p:spPr>
          <a:xfrm>
            <a:off x="331788" y="696913"/>
            <a:ext cx="6194425" cy="3486150"/>
          </a:xfrm>
          <a:ln/>
        </p:spPr>
      </p:sp>
      <p:sp>
        <p:nvSpPr>
          <p:cNvPr id="36870" name="Rectangle 3"/>
          <p:cNvSpPr>
            <a:spLocks noGrp="1" noChangeArrowheads="1"/>
          </p:cNvSpPr>
          <p:nvPr>
            <p:ph type="body" idx="1"/>
          </p:nvPr>
        </p:nvSpPr>
        <p:spPr>
          <a:xfrm>
            <a:off x="685800" y="4415791"/>
            <a:ext cx="5486400" cy="4183380"/>
          </a:xfrm>
          <a:prstGeom prst="rect">
            <a:avLst/>
          </a:prstGeom>
          <a:noFill/>
          <a:ln/>
        </p:spPr>
        <p:txBody>
          <a:bodyPr lIns="89581" tIns="44791" rIns="89581" bIns="44791"/>
          <a:lstStyle/>
          <a:p>
            <a:pPr defTabSz="897167" eaLnBrk="0" hangingPunct="0">
              <a:defRPr/>
            </a:pPr>
            <a:endParaRPr lang="en-US" dirty="0" smtClean="0"/>
          </a:p>
        </p:txBody>
      </p:sp>
    </p:spTree>
    <p:extLst>
      <p:ext uri="{BB962C8B-B14F-4D97-AF65-F5344CB8AC3E}">
        <p14:creationId xmlns:p14="http://schemas.microsoft.com/office/powerpoint/2010/main" val="301962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image" Target="../media/image6.png"/><Relationship Id="rId3" Type="http://schemas.openxmlformats.org/officeDocument/2006/relationships/tags" Target="../tags/tag7.xml"/><Relationship Id="rId7" Type="http://schemas.openxmlformats.org/officeDocument/2006/relationships/slideMaster" Target="../slideMasters/slideMaster1.xml"/><Relationship Id="rId12" Type="http://schemas.microsoft.com/office/2007/relationships/hdphoto" Target="../media/hdphoto2.wdp"/><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5.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 Id="rId14" Type="http://schemas.microsoft.com/office/2007/relationships/hdphoto" Target="../media/hdphoto3.wdp"/></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image" Target="../media/image7.jpg"/><Relationship Id="rId5" Type="http://schemas.openxmlformats.org/officeDocument/2006/relationships/slideMaster" Target="../slideMasters/slideMaster1.xml"/><Relationship Id="rId10" Type="http://schemas.microsoft.com/office/2007/relationships/hdphoto" Target="../media/hdphoto3.wdp"/><Relationship Id="rId4" Type="http://schemas.openxmlformats.org/officeDocument/2006/relationships/tags" Target="../tags/tag56.xm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7.bin"/><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microsoft.com/office/2007/relationships/hdphoto" Target="../media/hdphoto3.wdp"/><Relationship Id="rId5" Type="http://schemas.openxmlformats.org/officeDocument/2006/relationships/tags" Target="../tags/tag1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77.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oleObject" Target="../embeddings/oleObject22.bin"/><Relationship Id="rId2" Type="http://schemas.openxmlformats.org/officeDocument/2006/relationships/tags" Target="../tags/tag78.xml"/><Relationship Id="rId1" Type="http://schemas.openxmlformats.org/officeDocument/2006/relationships/vmlDrawing" Target="../drawings/vmlDrawing22.v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microsoft.com/office/2007/relationships/hdphoto" Target="../media/hdphoto1.wdp"/><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microsoft.com/office/2007/relationships/hdphoto" Target="../media/hdphoto1.wdp"/><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microsoft.com/office/2007/relationships/hdphoto" Target="../media/hdphoto1.wdp"/><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6.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7.jpg"/><Relationship Id="rId4" Type="http://schemas.openxmlformats.org/officeDocument/2006/relationships/slideMaster" Target="../slideMasters/slideMaster3.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image" Target="../media/image8.jpg"/><Relationship Id="rId5" Type="http://schemas.openxmlformats.org/officeDocument/2006/relationships/slideMaster" Target="../slideMasters/slideMaster3.xml"/><Relationship Id="rId4" Type="http://schemas.openxmlformats.org/officeDocument/2006/relationships/tags" Target="../tags/tag99.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jpg"/><Relationship Id="rId13" Type="http://schemas.openxmlformats.org/officeDocument/2006/relationships/oleObject" Target="../embeddings/oleObject34.bin"/><Relationship Id="rId3" Type="http://schemas.openxmlformats.org/officeDocument/2006/relationships/tags" Target="../tags/tag101.xml"/><Relationship Id="rId7" Type="http://schemas.openxmlformats.org/officeDocument/2006/relationships/slideMaster" Target="../slideMasters/slideMaster3.xml"/><Relationship Id="rId12" Type="http://schemas.microsoft.com/office/2007/relationships/hdphoto" Target="../media/hdphoto3.wdp"/><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tags" Target="../tags/tag104.xml"/><Relationship Id="rId11" Type="http://schemas.openxmlformats.org/officeDocument/2006/relationships/image" Target="../media/image6.png"/><Relationship Id="rId5" Type="http://schemas.openxmlformats.org/officeDocument/2006/relationships/tags" Target="../tags/tag103.xml"/><Relationship Id="rId10" Type="http://schemas.microsoft.com/office/2007/relationships/hdphoto" Target="../media/hdphoto2.wdp"/><Relationship Id="rId4" Type="http://schemas.openxmlformats.org/officeDocument/2006/relationships/tags" Target="../tags/tag102.xml"/><Relationship Id="rId9" Type="http://schemas.openxmlformats.org/officeDocument/2006/relationships/image" Target="../media/image5.png"/><Relationship Id="rId1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7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9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1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961053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6641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0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8955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5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6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8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7829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704184"/>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sz="1960"/>
            </a:lvl3pPr>
            <a:lvl4pPr marL="448102" indent="0">
              <a:buNone/>
              <a:defRPr sz="1764"/>
            </a:lvl4pPr>
            <a:lvl5pPr marL="6721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583161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379224"/>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260014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6066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2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4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7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vmlDrawing" Target="../drawings/vmlDrawing18.vml"/><Relationship Id="rId7" Type="http://schemas.openxmlformats.org/officeDocument/2006/relationships/tags" Target="../tags/tag70.xml"/><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2.emf"/><Relationship Id="rId4" Type="http://schemas.openxmlformats.org/officeDocument/2006/relationships/tags" Target="../tags/tag67.xml"/><Relationship Id="rId9" Type="http://schemas.openxmlformats.org/officeDocument/2006/relationships/oleObject" Target="../embeddings/oleObject1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75.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vmlDrawing" Target="../drawings/vmlDrawing20.v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2.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5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4"/>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5"/>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6"/>
            </p:custDataLst>
          </p:nvPr>
        </p:nvPicPr>
        <p:blipFill>
          <a:blip r:embed="rId29" cstate="print">
            <a:duotone>
              <a:prstClr val="black"/>
              <a:schemeClr val="tx2">
                <a:tint val="45000"/>
                <a:satMod val="400000"/>
              </a:schemeClr>
            </a:duotone>
            <a:extLst>
              <a:ext uri="{BEBA8EAE-BF5A-486C-A8C5-ECC9F3942E4B}">
                <a14:imgProps xmlns:a14="http://schemas.microsoft.com/office/drawing/2010/main">
                  <a14:imgLayer r:embed="rId3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80"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53"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5" r:id="rId19"/>
    <p:sldLayoutId id="2147483776" r:id="rId20"/>
    <p:sldLayoutId id="2147483777" r:id="rId21"/>
    <p:sldLayoutId id="2147483778" r:id="rId22"/>
    <p:sldLayoutId id="2147483779"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image" Target="../media/image31.jpeg"/><Relationship Id="rId3" Type="http://schemas.openxmlformats.org/officeDocument/2006/relationships/tags" Target="../tags/tag108.xml"/><Relationship Id="rId21" Type="http://schemas.openxmlformats.org/officeDocument/2006/relationships/tags" Target="../tags/tag126.xml"/><Relationship Id="rId34" Type="http://schemas.openxmlformats.org/officeDocument/2006/relationships/image" Target="../media/image2.emf"/><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oleObject" Target="../embeddings/oleObject37.bin"/><Relationship Id="rId38" Type="http://schemas.openxmlformats.org/officeDocument/2006/relationships/image" Target="../media/image30.jpeg"/><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vmlDrawing" Target="../drawings/vmlDrawing37.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notesSlide" Target="../notesSlides/notesSlide14.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image" Target="../media/image29.png"/><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slideLayout" Target="../slideLayouts/slideLayout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hyperlink" Target="http://www.microsoft.com/en-us/download/confirmation.aspx?id=39379"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microsoft.com/office/2007/relationships/hdphoto" Target="../media/hdphoto4.wdp"/><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565" y="2234425"/>
            <a:ext cx="10326710" cy="1358842"/>
          </a:xfrm>
        </p:spPr>
        <p:txBody>
          <a:bodyPr/>
          <a:lstStyle/>
          <a:p>
            <a:r>
              <a:rPr lang="en-US" dirty="0" smtClean="0"/>
              <a:t>Excel Power Tools</a:t>
            </a:r>
            <a:endParaRPr lang="en-US" dirty="0"/>
          </a:p>
        </p:txBody>
      </p:sp>
      <p:sp>
        <p:nvSpPr>
          <p:cNvPr id="2" name="Text Placeholder 1"/>
          <p:cNvSpPr>
            <a:spLocks noGrp="1"/>
          </p:cNvSpPr>
          <p:nvPr>
            <p:ph type="body" sz="quarter" idx="11"/>
          </p:nvPr>
        </p:nvSpPr>
        <p:spPr>
          <a:xfrm>
            <a:off x="520565" y="4862980"/>
            <a:ext cx="9016985" cy="738472"/>
          </a:xfrm>
        </p:spPr>
        <p:txBody>
          <a:bodyPr/>
          <a:lstStyle/>
          <a:p>
            <a:r>
              <a:rPr lang="en-US" b="1" dirty="0" smtClean="0"/>
              <a:t>Microsoft Research</a:t>
            </a:r>
          </a:p>
          <a:p>
            <a:r>
              <a:rPr lang="en-US" dirty="0" smtClean="0"/>
              <a:t>Windows Azure for Research Training</a:t>
            </a:r>
            <a:endParaRPr lang="en-US" dirty="0"/>
          </a:p>
        </p:txBody>
      </p:sp>
    </p:spTree>
    <p:extLst>
      <p:ext uri="{BB962C8B-B14F-4D97-AF65-F5344CB8AC3E}">
        <p14:creationId xmlns:p14="http://schemas.microsoft.com/office/powerpoint/2010/main" val="390441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485"/>
            <a:ext cx="9412563" cy="210428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0" rIns="91412" bIns="91416" numCol="1" rtlCol="0" anchor="b" anchorCtr="0" compatLnSpc="1">
            <a:prstTxWarp prst="textNoShape">
              <a:avLst/>
            </a:prstTxWarp>
          </a:bodyPr>
          <a:lstStyle/>
          <a:p>
            <a:pPr defTabSz="913825" fontAlgn="base">
              <a:spcBef>
                <a:spcPct val="0"/>
              </a:spcBef>
              <a:spcAft>
                <a:spcPct val="0"/>
              </a:spcAft>
            </a:pPr>
            <a:endParaRPr lang="en-US" sz="2199" dirty="0">
              <a:solidFill>
                <a:srgbClr val="00AEEF">
                  <a:alpha val="99000"/>
                </a:srgbClr>
              </a:solidFill>
            </a:endParaRPr>
          </a:p>
        </p:txBody>
      </p:sp>
      <p:sp>
        <p:nvSpPr>
          <p:cNvPr id="2" name="Title 1"/>
          <p:cNvSpPr>
            <a:spLocks noGrp="1"/>
          </p:cNvSpPr>
          <p:nvPr>
            <p:ph type="title"/>
          </p:nvPr>
        </p:nvSpPr>
        <p:spPr>
          <a:xfrm>
            <a:off x="599101" y="3133680"/>
            <a:ext cx="10235121" cy="747897"/>
          </a:xfrm>
        </p:spPr>
        <p:txBody>
          <a:bodyPr/>
          <a:lstStyle/>
          <a:p>
            <a:r>
              <a:rPr lang="en-US" sz="5400" dirty="0" smtClean="0">
                <a:gradFill>
                  <a:gsLst>
                    <a:gs pos="1250">
                      <a:srgbClr val="FFFFFF"/>
                    </a:gs>
                    <a:gs pos="100000">
                      <a:srgbClr val="FFFFFF"/>
                    </a:gs>
                  </a:gsLst>
                  <a:lin ang="5400000" scaled="0"/>
                </a:gradFill>
              </a:rPr>
              <a:t>PowerPivot, Power View Demo</a:t>
            </a:r>
            <a:endParaRPr lang="en-US" sz="5400" dirty="0"/>
          </a:p>
        </p:txBody>
      </p:sp>
    </p:spTree>
    <p:extLst>
      <p:ext uri="{BB962C8B-B14F-4D97-AF65-F5344CB8AC3E}">
        <p14:creationId xmlns:p14="http://schemas.microsoft.com/office/powerpoint/2010/main" val="41119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State of the Art</a:t>
            </a:r>
            <a:endParaRPr lang="en-US" dirty="0"/>
          </a:p>
        </p:txBody>
      </p:sp>
      <p:pic>
        <p:nvPicPr>
          <p:cNvPr id="4" name="Picture 3"/>
          <p:cNvPicPr>
            <a:picLocks noChangeAspect="1"/>
          </p:cNvPicPr>
          <p:nvPr/>
        </p:nvPicPr>
        <p:blipFill>
          <a:blip r:embed="rId3"/>
          <a:stretch>
            <a:fillRect/>
          </a:stretch>
        </p:blipFill>
        <p:spPr>
          <a:xfrm>
            <a:off x="3942157" y="3880208"/>
            <a:ext cx="7786821" cy="1581489"/>
          </a:xfrm>
          <a:prstGeom prst="rect">
            <a:avLst/>
          </a:prstGeom>
          <a:ln>
            <a:noFill/>
          </a:ln>
          <a:effectLst>
            <a:outerShdw blurRad="50800" dist="38100" dir="2700000" algn="tl" rotWithShape="0">
              <a:prstClr val="black">
                <a:alpha val="40000"/>
              </a:prstClr>
            </a:outerShdw>
            <a:softEdge rad="127000"/>
          </a:effectLst>
        </p:spPr>
      </p:pic>
    </p:spTree>
    <p:extLst>
      <p:ext uri="{BB962C8B-B14F-4D97-AF65-F5344CB8AC3E}">
        <p14:creationId xmlns:p14="http://schemas.microsoft.com/office/powerpoint/2010/main" val="167274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he Data tab – the old way</a:t>
            </a:r>
            <a:endParaRPr lang="en-US" dirty="0"/>
          </a:p>
        </p:txBody>
      </p:sp>
      <p:pic>
        <p:nvPicPr>
          <p:cNvPr id="5" name="Picture 4"/>
          <p:cNvPicPr>
            <a:picLocks noChangeAspect="1"/>
          </p:cNvPicPr>
          <p:nvPr/>
        </p:nvPicPr>
        <p:blipFill>
          <a:blip r:embed="rId3"/>
          <a:stretch>
            <a:fillRect/>
          </a:stretch>
        </p:blipFill>
        <p:spPr>
          <a:xfrm>
            <a:off x="1221934" y="2382979"/>
            <a:ext cx="9961124" cy="2023085"/>
          </a:xfrm>
          <a:prstGeom prst="rect">
            <a:avLst/>
          </a:prstGeom>
          <a:ln>
            <a:noFill/>
          </a:ln>
          <a:effectLst>
            <a:softEdge rad="112500"/>
          </a:effectLst>
        </p:spPr>
      </p:pic>
    </p:spTree>
    <p:extLst>
      <p:ext uri="{BB962C8B-B14F-4D97-AF65-F5344CB8AC3E}">
        <p14:creationId xmlns:p14="http://schemas.microsoft.com/office/powerpoint/2010/main" val="184495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2764" y="1597715"/>
            <a:ext cx="11155680" cy="2215991"/>
          </a:xfrm>
        </p:spPr>
        <p:txBody>
          <a:bodyPr/>
          <a:lstStyle/>
          <a:p>
            <a:r>
              <a:rPr lang="en-US" dirty="0"/>
              <a:t>Modern experiences for getting data</a:t>
            </a:r>
          </a:p>
        </p:txBody>
      </p:sp>
    </p:spTree>
    <p:extLst>
      <p:ext uri="{BB962C8B-B14F-4D97-AF65-F5344CB8AC3E}">
        <p14:creationId xmlns:p14="http://schemas.microsoft.com/office/powerpoint/2010/main" val="136209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ower Query?</a:t>
            </a:r>
            <a:endParaRPr lang="en-US" dirty="0"/>
          </a:p>
        </p:txBody>
      </p:sp>
      <p:sp>
        <p:nvSpPr>
          <p:cNvPr id="5" name="TextBox 4"/>
          <p:cNvSpPr txBox="1"/>
          <p:nvPr/>
        </p:nvSpPr>
        <p:spPr>
          <a:xfrm>
            <a:off x="580143" y="1195653"/>
            <a:ext cx="10711707" cy="664882"/>
          </a:xfrm>
          <a:prstGeom prst="rect">
            <a:avLst/>
          </a:prstGeom>
          <a:noFill/>
        </p:spPr>
        <p:txBody>
          <a:bodyPr wrap="square" rtlCol="0">
            <a:spAutoFit/>
          </a:bodyPr>
          <a:lstStyle/>
          <a:p>
            <a:r>
              <a:rPr lang="en-US" sz="1866" dirty="0"/>
              <a:t>Enable self-service data discovery, query, transformation and </a:t>
            </a:r>
            <a:r>
              <a:rPr lang="en-US" sz="1866" dirty="0" err="1"/>
              <a:t>mashup</a:t>
            </a:r>
            <a:r>
              <a:rPr lang="en-US" sz="1866" dirty="0"/>
              <a:t> experiences for Information Workers, via Excel and PowerPivot</a:t>
            </a:r>
          </a:p>
        </p:txBody>
      </p:sp>
      <p:grpSp>
        <p:nvGrpSpPr>
          <p:cNvPr id="6" name="Group 5"/>
          <p:cNvGrpSpPr/>
          <p:nvPr/>
        </p:nvGrpSpPr>
        <p:grpSpPr>
          <a:xfrm>
            <a:off x="713324" y="2078305"/>
            <a:ext cx="734915" cy="781103"/>
            <a:chOff x="520698" y="3753716"/>
            <a:chExt cx="950976" cy="950976"/>
          </a:xfrm>
        </p:grpSpPr>
        <p:sp>
          <p:nvSpPr>
            <p:cNvPr id="7" name="Rectangle 6"/>
            <p:cNvSpPr>
              <a:spLocks noChangeAspect="1"/>
            </p:cNvSpPr>
            <p:nvPr/>
          </p:nvSpPr>
          <p:spPr bwMode="auto">
            <a:xfrm>
              <a:off x="520698" y="3753716"/>
              <a:ext cx="950976"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8" name="Freeform 14"/>
            <p:cNvSpPr>
              <a:spLocks noEditPoints="1"/>
            </p:cNvSpPr>
            <p:nvPr/>
          </p:nvSpPr>
          <p:spPr bwMode="black">
            <a:xfrm>
              <a:off x="672074" y="3939349"/>
              <a:ext cx="648225" cy="575737"/>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grpSp>
      <p:sp>
        <p:nvSpPr>
          <p:cNvPr id="9" name="Text Placeholder 4"/>
          <p:cNvSpPr txBox="1">
            <a:spLocks/>
          </p:cNvSpPr>
          <p:nvPr/>
        </p:nvSpPr>
        <p:spPr>
          <a:xfrm>
            <a:off x="1703366" y="2076672"/>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smtClean="0">
                <a:solidFill>
                  <a:schemeClr val="tx1"/>
                </a:solidFill>
                <a:latin typeface="+mn-lt"/>
              </a:rPr>
              <a:t>Search</a:t>
            </a:r>
            <a:r>
              <a:rPr lang="en-US" sz="1866" dirty="0" smtClean="0">
                <a:solidFill>
                  <a:schemeClr val="tx1"/>
                </a:solidFill>
                <a:latin typeface="+mn-lt"/>
              </a:rPr>
              <a:t>, </a:t>
            </a:r>
            <a:r>
              <a:rPr lang="en-US" sz="1866" b="1" dirty="0" smtClean="0">
                <a:solidFill>
                  <a:schemeClr val="tx1"/>
                </a:solidFill>
                <a:latin typeface="+mn-lt"/>
              </a:rPr>
              <a:t>Discover</a:t>
            </a:r>
            <a:r>
              <a:rPr lang="en-US" sz="1866" dirty="0" smtClean="0">
                <a:solidFill>
                  <a:schemeClr val="tx1"/>
                </a:solidFill>
                <a:latin typeface="+mn-lt"/>
              </a:rPr>
              <a:t>, </a:t>
            </a:r>
            <a:r>
              <a:rPr lang="en-US" sz="1866" dirty="0">
                <a:solidFill>
                  <a:schemeClr val="tx1"/>
                </a:solidFill>
                <a:latin typeface="+mn-lt"/>
              </a:rPr>
              <a:t>and connectivity to a </a:t>
            </a:r>
            <a:r>
              <a:rPr lang="en-US" sz="1866" b="1" dirty="0">
                <a:solidFill>
                  <a:schemeClr val="tx1"/>
                </a:solidFill>
                <a:latin typeface="+mn-lt"/>
              </a:rPr>
              <a:t>wide range of data sources</a:t>
            </a:r>
            <a:r>
              <a:rPr lang="en-US" sz="1866" dirty="0">
                <a:solidFill>
                  <a:schemeClr val="tx1"/>
                </a:solidFill>
                <a:latin typeface="+mn-lt"/>
              </a:rPr>
              <a:t>, including publicly available data of all sizes &amp; shapes. </a:t>
            </a:r>
            <a:endParaRPr lang="en-US" sz="1866" spc="-93" dirty="0">
              <a:solidFill>
                <a:schemeClr val="tx1"/>
              </a:solidFill>
              <a:latin typeface="+mn-lt"/>
            </a:endParaRPr>
          </a:p>
        </p:txBody>
      </p:sp>
      <p:grpSp>
        <p:nvGrpSpPr>
          <p:cNvPr id="10" name="Group 9"/>
          <p:cNvGrpSpPr/>
          <p:nvPr/>
        </p:nvGrpSpPr>
        <p:grpSpPr>
          <a:xfrm>
            <a:off x="713325" y="3011881"/>
            <a:ext cx="734916" cy="781103"/>
            <a:chOff x="520698" y="2747687"/>
            <a:chExt cx="950976" cy="950976"/>
          </a:xfrm>
        </p:grpSpPr>
        <p:sp>
          <p:nvSpPr>
            <p:cNvPr id="11" name="Rectangle 10"/>
            <p:cNvSpPr>
              <a:spLocks noChangeAspect="1"/>
            </p:cNvSpPr>
            <p:nvPr/>
          </p:nvSpPr>
          <p:spPr bwMode="auto">
            <a:xfrm>
              <a:off x="520698" y="2747687"/>
              <a:ext cx="950976" cy="950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2" name="Freeform 10"/>
            <p:cNvSpPr>
              <a:spLocks noEditPoints="1"/>
            </p:cNvSpPr>
            <p:nvPr/>
          </p:nvSpPr>
          <p:spPr bwMode="black">
            <a:xfrm>
              <a:off x="628424" y="3003027"/>
              <a:ext cx="735525" cy="4402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grpSp>
      <p:sp>
        <p:nvSpPr>
          <p:cNvPr id="13" name="Text Placeholder 4"/>
          <p:cNvSpPr txBox="1">
            <a:spLocks/>
          </p:cNvSpPr>
          <p:nvPr/>
        </p:nvSpPr>
        <p:spPr>
          <a:xfrm>
            <a:off x="1700507" y="3011879"/>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dirty="0">
                <a:solidFill>
                  <a:schemeClr val="tx1"/>
                </a:solidFill>
                <a:latin typeface="+mn-lt"/>
              </a:rPr>
              <a:t>Highly interactive and intuitive experience for rapidly and iteratively building queries over </a:t>
            </a:r>
            <a:r>
              <a:rPr lang="en-US" sz="1866" b="1" dirty="0">
                <a:solidFill>
                  <a:schemeClr val="tx1"/>
                </a:solidFill>
                <a:latin typeface="+mn-lt"/>
              </a:rPr>
              <a:t>any data source, any size.</a:t>
            </a:r>
          </a:p>
        </p:txBody>
      </p:sp>
      <p:sp>
        <p:nvSpPr>
          <p:cNvPr id="14" name="Rectangle 13"/>
          <p:cNvSpPr>
            <a:spLocks noChangeAspect="1"/>
          </p:cNvSpPr>
          <p:nvPr/>
        </p:nvSpPr>
        <p:spPr bwMode="auto">
          <a:xfrm>
            <a:off x="713324" y="3943156"/>
            <a:ext cx="734915" cy="781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5" name="Text Placeholder 4"/>
          <p:cNvSpPr txBox="1">
            <a:spLocks/>
          </p:cNvSpPr>
          <p:nvPr/>
        </p:nvSpPr>
        <p:spPr>
          <a:xfrm>
            <a:off x="1703366" y="3941523"/>
            <a:ext cx="958848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Consistency</a:t>
            </a:r>
            <a:r>
              <a:rPr lang="en-US" sz="1866" dirty="0">
                <a:solidFill>
                  <a:schemeClr val="tx1"/>
                </a:solidFill>
                <a:latin typeface="+mn-lt"/>
              </a:rPr>
              <a:t> of experience, and parity of query capabilities over all data sources.</a:t>
            </a:r>
          </a:p>
        </p:txBody>
      </p:sp>
      <p:sp>
        <p:nvSpPr>
          <p:cNvPr id="16" name="Rectangle 15"/>
          <p:cNvSpPr>
            <a:spLocks noChangeAspect="1"/>
          </p:cNvSpPr>
          <p:nvPr/>
        </p:nvSpPr>
        <p:spPr bwMode="auto">
          <a:xfrm>
            <a:off x="713325" y="4876732"/>
            <a:ext cx="734916" cy="781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algn="ctr"/>
            <a:endParaRPr lang="en-US" sz="1866">
              <a:solidFill>
                <a:schemeClr val="tx1"/>
              </a:solidFill>
            </a:endParaRPr>
          </a:p>
        </p:txBody>
      </p:sp>
      <p:sp>
        <p:nvSpPr>
          <p:cNvPr id="17" name="Text Placeholder 4"/>
          <p:cNvSpPr txBox="1">
            <a:spLocks/>
          </p:cNvSpPr>
          <p:nvPr/>
        </p:nvSpPr>
        <p:spPr>
          <a:xfrm>
            <a:off x="1700507" y="4876731"/>
            <a:ext cx="9591343" cy="781103"/>
          </a:xfrm>
          <a:prstGeom prst="rect">
            <a:avLst/>
          </a:prstGeom>
          <a:solidFill>
            <a:schemeClr val="tx1">
              <a:alpha val="5000"/>
            </a:schemeClr>
          </a:solidFill>
        </p:spPr>
        <p:txBody>
          <a:bodyPr lIns="182807" tIns="0" rIns="243742"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66" b="1" dirty="0">
                <a:solidFill>
                  <a:schemeClr val="tx1"/>
                </a:solidFill>
                <a:latin typeface="+mn-lt"/>
              </a:rPr>
              <a:t>Joins</a:t>
            </a:r>
            <a:r>
              <a:rPr lang="en-US" sz="1866" dirty="0">
                <a:solidFill>
                  <a:schemeClr val="tx1"/>
                </a:solidFill>
                <a:latin typeface="+mn-lt"/>
              </a:rPr>
              <a:t> across different data sources; ability to create custom views over data that can then be shared with team/department.</a:t>
            </a:r>
          </a:p>
        </p:txBody>
      </p:sp>
      <p:sp>
        <p:nvSpPr>
          <p:cNvPr id="18" name="Freeform 15"/>
          <p:cNvSpPr>
            <a:spLocks noEditPoints="1"/>
          </p:cNvSpPr>
          <p:nvPr/>
        </p:nvSpPr>
        <p:spPr bwMode="black">
          <a:xfrm>
            <a:off x="825842" y="4083611"/>
            <a:ext cx="482680" cy="50769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9696" tIns="54849" rIns="109696" bIns="54849" numCol="1" anchor="t" anchorCtr="0" compatLnSpc="1">
            <a:prstTxWarp prst="textNoShape">
              <a:avLst/>
            </a:prstTxWarp>
          </a:bodyPr>
          <a:lstStyle/>
          <a:p>
            <a:endParaRPr lang="en-US" sz="1866"/>
          </a:p>
        </p:txBody>
      </p:sp>
      <p:sp>
        <p:nvSpPr>
          <p:cNvPr id="19" name="Freeform 67"/>
          <p:cNvSpPr>
            <a:spLocks noChangeAspect="1" noEditPoints="1"/>
          </p:cNvSpPr>
          <p:nvPr/>
        </p:nvSpPr>
        <p:spPr bwMode="black">
          <a:xfrm>
            <a:off x="795627" y="4954977"/>
            <a:ext cx="544631" cy="624607"/>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6" rIns="121871" bIns="60936" numCol="1" anchor="t" anchorCtr="0" compatLnSpc="1">
            <a:prstTxWarp prst="textNoShape">
              <a:avLst/>
            </a:prstTxWarp>
          </a:bodyPr>
          <a:lstStyle/>
          <a:p>
            <a:endParaRPr lang="en-US" sz="1866"/>
          </a:p>
        </p:txBody>
      </p:sp>
    </p:spTree>
    <p:extLst>
      <p:ext uri="{BB962C8B-B14F-4D97-AF65-F5344CB8AC3E}">
        <p14:creationId xmlns:p14="http://schemas.microsoft.com/office/powerpoint/2010/main" val="5789669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212617" y="2488581"/>
            <a:ext cx="7113626" cy="1523494"/>
          </a:xfrm>
        </p:spPr>
        <p:txBody>
          <a:bodyPr/>
          <a:lstStyle/>
          <a:p>
            <a:r>
              <a:rPr lang="en-US" dirty="0" smtClean="0"/>
              <a:t>Connecting Excel and </a:t>
            </a:r>
            <a:r>
              <a:rPr lang="en-US" dirty="0" err="1" smtClean="0"/>
              <a:t>Hadoop</a:t>
            </a:r>
            <a:r>
              <a:rPr lang="en-US" dirty="0" smtClean="0"/>
              <a:t> on Windows Azure</a:t>
            </a:r>
            <a:endParaRPr lang="en-US" dirty="0"/>
          </a:p>
        </p:txBody>
      </p:sp>
    </p:spTree>
    <p:extLst>
      <p:ext uri="{BB962C8B-B14F-4D97-AF65-F5344CB8AC3E}">
        <p14:creationId xmlns:p14="http://schemas.microsoft.com/office/powerpoint/2010/main" val="42759591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211"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alpha val="81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EDW</a:t>
            </a: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Windows Azure</a:t>
            </a: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Map</a:t>
            </a:r>
            <a:endParaRPr lang="en-US" dirty="0"/>
          </a:p>
        </p:txBody>
      </p:sp>
      <p:pic>
        <p:nvPicPr>
          <p:cNvPr id="3" name="Picture 2"/>
          <p:cNvPicPr>
            <a:picLocks noChangeAspect="1"/>
          </p:cNvPicPr>
          <p:nvPr/>
        </p:nvPicPr>
        <p:blipFill>
          <a:blip r:embed="rId2"/>
          <a:stretch>
            <a:fillRect/>
          </a:stretch>
        </p:blipFill>
        <p:spPr>
          <a:xfrm>
            <a:off x="519113" y="976498"/>
            <a:ext cx="10661918" cy="5369982"/>
          </a:xfrm>
          <a:prstGeom prst="rect">
            <a:avLst/>
          </a:prstGeom>
        </p:spPr>
      </p:pic>
    </p:spTree>
    <p:extLst>
      <p:ext uri="{BB962C8B-B14F-4D97-AF65-F5344CB8AC3E}">
        <p14:creationId xmlns:p14="http://schemas.microsoft.com/office/powerpoint/2010/main" val="18972140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8657" y="166735"/>
            <a:ext cx="11375046" cy="1378644"/>
          </a:xfrm>
        </p:spPr>
        <p:txBody>
          <a:bodyPr/>
          <a:lstStyle/>
          <a:p>
            <a:r>
              <a:rPr lang="en-US" dirty="0" smtClean="0"/>
              <a:t>Enable your power tools</a:t>
            </a:r>
            <a:endParaRPr lang="en-US" dirty="0"/>
          </a:p>
        </p:txBody>
      </p:sp>
      <p:pic>
        <p:nvPicPr>
          <p:cNvPr id="3" name="Picture 2"/>
          <p:cNvPicPr>
            <a:picLocks noChangeAspect="1"/>
          </p:cNvPicPr>
          <p:nvPr/>
        </p:nvPicPr>
        <p:blipFill>
          <a:blip r:embed="rId2"/>
          <a:stretch>
            <a:fillRect/>
          </a:stretch>
        </p:blipFill>
        <p:spPr>
          <a:xfrm>
            <a:off x="1412152" y="1760560"/>
            <a:ext cx="9119648" cy="3631477"/>
          </a:xfrm>
          <a:prstGeom prst="rect">
            <a:avLst/>
          </a:prstGeom>
        </p:spPr>
      </p:pic>
    </p:spTree>
    <p:extLst>
      <p:ext uri="{BB962C8B-B14F-4D97-AF65-F5344CB8AC3E}">
        <p14:creationId xmlns:p14="http://schemas.microsoft.com/office/powerpoint/2010/main" val="41590673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Text Placeholder 2"/>
          <p:cNvSpPr>
            <a:spLocks noGrp="1"/>
          </p:cNvSpPr>
          <p:nvPr>
            <p:ph type="body" sz="quarter" idx="10"/>
          </p:nvPr>
        </p:nvSpPr>
        <p:spPr>
          <a:xfrm>
            <a:off x="519112" y="1447799"/>
            <a:ext cx="11149013" cy="4662815"/>
          </a:xfrm>
        </p:spPr>
        <p:txBody>
          <a:bodyPr/>
          <a:lstStyle/>
          <a:p>
            <a:r>
              <a:rPr lang="en-US" dirty="0"/>
              <a:t>Power Query: </a:t>
            </a:r>
            <a:r>
              <a:rPr lang="en-US" dirty="0" smtClean="0"/>
              <a:t/>
            </a:r>
            <a:br>
              <a:rPr lang="en-US" dirty="0" smtClean="0"/>
            </a:br>
            <a:r>
              <a:rPr lang="en-US" dirty="0" smtClean="0">
                <a:hlinkClick r:id="rId2"/>
              </a:rPr>
              <a:t>http</a:t>
            </a:r>
            <a:r>
              <a:rPr lang="en-US" dirty="0">
                <a:hlinkClick r:id="rId2"/>
              </a:rPr>
              <a:t>://</a:t>
            </a:r>
            <a:r>
              <a:rPr lang="en-US" dirty="0" smtClean="0">
                <a:hlinkClick r:id="rId2"/>
              </a:rPr>
              <a:t>www.microsoft.com/en-us/download/confirmation.aspx?id=39379</a:t>
            </a:r>
            <a:endParaRPr lang="en-US" dirty="0" smtClean="0"/>
          </a:p>
          <a:p>
            <a:r>
              <a:rPr lang="en-US" dirty="0" smtClean="0"/>
              <a:t/>
            </a:r>
            <a:br>
              <a:rPr lang="en-US" dirty="0" smtClean="0"/>
            </a:br>
            <a:r>
              <a:rPr lang="en-US" dirty="0" smtClean="0"/>
              <a:t>Power </a:t>
            </a:r>
            <a:r>
              <a:rPr lang="en-US" dirty="0"/>
              <a:t>Map: </a:t>
            </a:r>
            <a:r>
              <a:rPr lang="en-US" dirty="0" smtClean="0"/>
              <a:t/>
            </a:r>
            <a:br>
              <a:rPr lang="en-US" dirty="0" smtClean="0"/>
            </a:br>
            <a:r>
              <a:rPr lang="en-US" dirty="0" smtClean="0">
                <a:hlinkClick r:id="rId3"/>
              </a:rPr>
              <a:t>http</a:t>
            </a:r>
            <a:r>
              <a:rPr lang="en-US" dirty="0">
                <a:hlinkClick r:id="rId3"/>
              </a:rPr>
              <a:t>://</a:t>
            </a:r>
            <a:r>
              <a:rPr lang="en-US" dirty="0" smtClean="0">
                <a:hlinkClick r:id="rId3"/>
              </a:rPr>
              <a:t>www.microsoft.com/en-us/download/details.aspx?id=38395</a:t>
            </a:r>
            <a:endParaRPr lang="en-US" dirty="0" smtClean="0"/>
          </a:p>
          <a:p>
            <a:endParaRPr lang="en-US" dirty="0" smtClean="0"/>
          </a:p>
        </p:txBody>
      </p:sp>
    </p:spTree>
    <p:extLst>
      <p:ext uri="{BB962C8B-B14F-4D97-AF65-F5344CB8AC3E}">
        <p14:creationId xmlns:p14="http://schemas.microsoft.com/office/powerpoint/2010/main" val="38818696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you will learn:</a:t>
            </a:r>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Map – geospatial</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Query –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endParaRPr lang="en-US" dirty="0">
              <a:latin typeface="Segoe UI Light" panose="020B0502040204020203" pitchFamily="34" charset="0"/>
              <a:cs typeface="Segoe UI Light" panose="020B0502040204020203" pitchFamily="34" charset="0"/>
            </a:endParaRP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49938266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l Power Tools</a:t>
            </a:r>
          </a:p>
        </p:txBody>
      </p:sp>
      <p:sp>
        <p:nvSpPr>
          <p:cNvPr id="3" name="Text Placeholder 2"/>
          <p:cNvSpPr>
            <a:spLocks noGrp="1"/>
          </p:cNvSpPr>
          <p:nvPr>
            <p:ph type="body" sz="quarter" idx="10"/>
          </p:nvPr>
        </p:nvSpPr>
        <p:spPr>
          <a:xfrm>
            <a:off x="520565" y="1448315"/>
            <a:ext cx="11146110" cy="4154727"/>
          </a:xfrm>
        </p:spPr>
        <p:txBody>
          <a:bodyPr/>
          <a:lstStyle/>
          <a:p>
            <a:r>
              <a:rPr lang="en-US" sz="3599" dirty="0"/>
              <a:t>Learning objectives – what </a:t>
            </a:r>
            <a:r>
              <a:rPr lang="en-US" sz="3599" dirty="0" smtClean="0"/>
              <a:t>we have learned:</a:t>
            </a:r>
            <a:endParaRPr lang="en-US" sz="3599" dirty="0"/>
          </a:p>
          <a:p>
            <a:pPr marL="574503" lvl="0" indent="-571329">
              <a:buFont typeface="Arial" pitchFamily="34" charset="0"/>
              <a:buChar char="•"/>
            </a:pPr>
            <a:r>
              <a:rPr lang="en-US" sz="2800" dirty="0"/>
              <a:t>Designing data analysis services that can be viewed from Excel or the </a:t>
            </a:r>
            <a:r>
              <a:rPr lang="en-US" sz="2800" dirty="0" smtClean="0"/>
              <a:t>browser</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Pivot – analytics</a:t>
            </a:r>
          </a:p>
          <a:p>
            <a:pPr marL="1830216" lvl="2" indent="-571329">
              <a:buFont typeface="Arial" pitchFamily="34" charset="0"/>
              <a:buChar char="•"/>
            </a:pPr>
            <a:r>
              <a:rPr lang="en-US" dirty="0">
                <a:latin typeface="Segoe UI Light" panose="020B0502040204020203" pitchFamily="34" charset="0"/>
                <a:cs typeface="Segoe UI Light" panose="020B0502040204020203" pitchFamily="34" charset="0"/>
              </a:rPr>
              <a:t>Power </a:t>
            </a:r>
            <a:r>
              <a:rPr lang="en-US" dirty="0" smtClean="0">
                <a:latin typeface="Segoe UI Light" panose="020B0502040204020203" pitchFamily="34" charset="0"/>
                <a:cs typeface="Segoe UI Light" panose="020B0502040204020203" pitchFamily="34" charset="0"/>
              </a:rPr>
              <a:t>Map – geospatial</a:t>
            </a:r>
            <a:endParaRPr lang="en-US" dirty="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View – visualization </a:t>
            </a: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Power Query </a:t>
            </a:r>
            <a:r>
              <a:rPr lang="en-US" dirty="0">
                <a:latin typeface="Segoe UI Light" panose="020B0502040204020203" pitchFamily="34" charset="0"/>
                <a:cs typeface="Segoe UI Light" panose="020B0502040204020203" pitchFamily="34" charset="0"/>
              </a:rPr>
              <a:t>– discovery, query, transformation and </a:t>
            </a:r>
            <a:r>
              <a:rPr lang="en-US" dirty="0" err="1" smtClean="0">
                <a:latin typeface="Segoe UI Light" panose="020B0502040204020203" pitchFamily="34" charset="0"/>
                <a:cs typeface="Segoe UI Light" panose="020B0502040204020203" pitchFamily="34" charset="0"/>
              </a:rPr>
              <a:t>mashup</a:t>
            </a:r>
            <a:endParaRPr lang="en-US" dirty="0" smtClean="0">
              <a:latin typeface="Segoe UI Light" panose="020B0502040204020203" pitchFamily="34" charset="0"/>
              <a:cs typeface="Segoe UI Light" panose="020B0502040204020203" pitchFamily="34" charset="0"/>
            </a:endParaRPr>
          </a:p>
          <a:p>
            <a:pPr marL="1830216" lvl="2" indent="-571329">
              <a:buFont typeface="Arial" pitchFamily="34" charset="0"/>
              <a:buChar char="•"/>
            </a:pPr>
            <a:r>
              <a:rPr lang="en-US" dirty="0" smtClean="0">
                <a:latin typeface="Segoe UI Light" panose="020B0502040204020203" pitchFamily="34" charset="0"/>
                <a:cs typeface="Segoe UI Light" panose="020B0502040204020203" pitchFamily="34" charset="0"/>
              </a:rPr>
              <a:t>Others</a:t>
            </a:r>
          </a:p>
          <a:p>
            <a:pPr marL="1258887" lvl="2" indent="0">
              <a:buNone/>
            </a:pPr>
            <a:endParaRPr lang="en-US" sz="2800" dirty="0"/>
          </a:p>
          <a:p>
            <a:pPr marL="574503" indent="-571329">
              <a:buFont typeface="Arial" panose="020B0604020202020204" pitchFamily="34" charset="0"/>
              <a:buChar char="•"/>
            </a:pPr>
            <a:r>
              <a:rPr lang="en-US" sz="2799" dirty="0" smtClean="0"/>
              <a:t>Examples </a:t>
            </a:r>
            <a:r>
              <a:rPr lang="en-US" sz="2799" dirty="0"/>
              <a:t>of when this is useful for research scientists</a:t>
            </a:r>
          </a:p>
        </p:txBody>
      </p:sp>
    </p:spTree>
    <p:extLst>
      <p:ext uri="{BB962C8B-B14F-4D97-AF65-F5344CB8AC3E}">
        <p14:creationId xmlns:p14="http://schemas.microsoft.com/office/powerpoint/2010/main" val="316245904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1724068" y="3169258"/>
            <a:ext cx="2435853" cy="519492"/>
            <a:chOff x="4846638" y="3441700"/>
            <a:chExt cx="5910262" cy="1260475"/>
          </a:xfrm>
        </p:grpSpPr>
        <p:sp>
          <p:nvSpPr>
            <p:cNvPr id="6"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7"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8"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9"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sp>
          <p:nvSpPr>
            <p:cNvPr id="10"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2" tIns="44816" rIns="89632" bIns="44816" numCol="1" anchor="t" anchorCtr="0" compatLnSpc="1">
              <a:prstTxWarp prst="textNoShape">
                <a:avLst/>
              </a:prstTxWarp>
            </a:bodyPr>
            <a:lstStyle/>
            <a:p>
              <a:endParaRPr lang="en-US" sz="2352" dirty="0"/>
            </a:p>
          </p:txBody>
        </p:sp>
      </p:grpSp>
      <p:sp>
        <p:nvSpPr>
          <p:cNvPr id="3" name="Text Box 3"/>
          <p:cNvSpPr txBox="1">
            <a:spLocks noChangeArrowheads="1"/>
          </p:cNvSpPr>
          <p:nvPr/>
        </p:nvSpPr>
        <p:spPr bwMode="blackWhite">
          <a:xfrm>
            <a:off x="1526895" y="4023851"/>
            <a:ext cx="8924817" cy="720397"/>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312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298323" y="2769597"/>
            <a:ext cx="8890502" cy="2209836"/>
          </a:xfrm>
        </p:spPr>
        <p:txBody>
          <a:bodyPr/>
          <a:lstStyle/>
          <a:p>
            <a:r>
              <a:rPr lang="en-US" sz="3600" dirty="0" smtClean="0"/>
              <a:t>Excel Power Tools (Pivot, Map, View, Query)</a:t>
            </a:r>
          </a:p>
          <a:p>
            <a:r>
              <a:rPr lang="en-US" sz="3600" dirty="0" err="1" smtClean="0"/>
              <a:t>LayerScape</a:t>
            </a:r>
            <a:r>
              <a:rPr lang="en-US" sz="3600" dirty="0"/>
              <a:t> </a:t>
            </a:r>
            <a:r>
              <a:rPr lang="en-US" sz="3600" dirty="0" smtClean="0"/>
              <a:t>– MSR Visualization Tool</a:t>
            </a:r>
            <a:endParaRPr lang="en-US" sz="3600" dirty="0"/>
          </a:p>
          <a:p>
            <a:r>
              <a:rPr lang="en-US" sz="3600" dirty="0" smtClean="0"/>
              <a:t>Data Nitro – Python + Excel</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46709" y="1687768"/>
            <a:ext cx="9269166" cy="4132484"/>
            <a:chOff x="1031857" y="1925394"/>
            <a:chExt cx="8187459" cy="3674965"/>
          </a:xfrm>
        </p:grpSpPr>
        <p:sp>
          <p:nvSpPr>
            <p:cNvPr id="11" name="Rectangle 10"/>
            <p:cNvSpPr/>
            <p:nvPr/>
          </p:nvSpPr>
          <p:spPr bwMode="auto">
            <a:xfrm>
              <a:off x="1031857" y="1925394"/>
              <a:ext cx="1878374" cy="18155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Pivo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lf-Service Analytics</a:t>
              </a:r>
            </a:p>
          </p:txBody>
        </p:sp>
        <p:grpSp>
          <p:nvGrpSpPr>
            <p:cNvPr id="19" name="Group 18"/>
            <p:cNvGrpSpPr/>
            <p:nvPr/>
          </p:nvGrpSpPr>
          <p:grpSpPr>
            <a:xfrm>
              <a:off x="7344604" y="3936068"/>
              <a:ext cx="1874712" cy="1664289"/>
              <a:chOff x="14930228" y="6605643"/>
              <a:chExt cx="3864969" cy="3864967"/>
            </a:xfrm>
          </p:grpSpPr>
          <p:sp>
            <p:nvSpPr>
              <p:cNvPr id="20" name="Rectangle 19"/>
              <p:cNvSpPr/>
              <p:nvPr/>
            </p:nvSpPr>
            <p:spPr bwMode="auto">
              <a:xfrm>
                <a:off x="14930228" y="6605643"/>
                <a:ext cx="3864969" cy="38649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Distribution of </a:t>
                </a:r>
                <a:r>
                  <a:rPr lang="en-US" sz="2400" b="1" dirty="0" err="1">
                    <a:gradFill>
                      <a:gsLst>
                        <a:gs pos="0">
                          <a:srgbClr val="FFFFFF"/>
                        </a:gs>
                        <a:gs pos="100000">
                          <a:srgbClr val="FFFFFF"/>
                        </a:gs>
                      </a:gsLst>
                      <a:lin ang="5400000" scaled="0"/>
                    </a:gradFill>
                    <a:latin typeface="Segoe UI Light" pitchFamily="34" charset="0"/>
                    <a:ea typeface="Segoe UI" pitchFamily="34" charset="0"/>
                    <a:cs typeface="Segoe UI" pitchFamily="34" charset="0"/>
                  </a:rPr>
                  <a:t>Hadoop</a:t>
                </a:r>
                <a:endParaRPr lang="en-US" sz="24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21"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55358" y="6721260"/>
                <a:ext cx="1934113" cy="1450206"/>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p:cNvSpPr/>
            <p:nvPr/>
          </p:nvSpPr>
          <p:spPr bwMode="auto">
            <a:xfrm>
              <a:off x="3115168" y="3936068"/>
              <a:ext cx="1874712" cy="16642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View</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Excel2013)</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Visualization</a:t>
              </a:r>
            </a:p>
          </p:txBody>
        </p:sp>
      </p:grpSp>
      <p:sp>
        <p:nvSpPr>
          <p:cNvPr id="13" name="Rectangle 12"/>
          <p:cNvSpPr/>
          <p:nvPr/>
        </p:nvSpPr>
        <p:spPr bwMode="auto">
          <a:xfrm>
            <a:off x="3005262" y="1677234"/>
            <a:ext cx="2122394" cy="20521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rPr>
              <a:t>Power Query</a:t>
            </a:r>
          </a:p>
          <a:p>
            <a:pPr defTabSz="914061" fontAlgn="base">
              <a:spcBef>
                <a:spcPct val="0"/>
              </a:spcBef>
              <a:spcAft>
                <a:spcPct val="0"/>
              </a:spcAft>
            </a:pPr>
            <a:r>
              <a:rPr lang="en-US" dirty="0" smtClean="0">
                <a:solidFill>
                  <a:schemeClr val="bg1"/>
                </a:solidFill>
                <a:latin typeface="Segoe UI" pitchFamily="34" charset="0"/>
                <a:ea typeface="Segoe UI" pitchFamily="34" charset="0"/>
                <a:cs typeface="Segoe UI" pitchFamily="34" charset="0"/>
              </a:rPr>
              <a:t>(New)</a:t>
            </a:r>
            <a:endParaRPr lang="en-US" dirty="0">
              <a:solidFill>
                <a:schemeClr val="bg1"/>
              </a:solidFill>
              <a:latin typeface="Segoe UI" pitchFamily="34" charset="0"/>
              <a:ea typeface="Segoe UI" pitchFamily="34" charset="0"/>
              <a:cs typeface="Segoe UI" pitchFamily="34" charset="0"/>
            </a:endParaRPr>
          </a:p>
          <a:p>
            <a:pPr defTabSz="914061" fontAlgn="base">
              <a:spcBef>
                <a:spcPct val="0"/>
              </a:spcBef>
              <a:spcAft>
                <a:spcPct val="0"/>
              </a:spcAft>
            </a:pPr>
            <a:r>
              <a:rPr lang="en-US" sz="1800" dirty="0"/>
              <a:t>self-service data discovery, query, transformation and </a:t>
            </a:r>
            <a:r>
              <a:rPr lang="en-US" sz="1800" dirty="0" err="1"/>
              <a:t>mashup</a:t>
            </a:r>
            <a:endParaRPr lang="en-US" sz="20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5357387" y="3948765"/>
            <a:ext cx="2122394" cy="18714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PowerMap</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w)</a:t>
            </a:r>
          </a:p>
          <a:p>
            <a:pPr defTabSz="914061"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ata </a:t>
            </a:r>
            <a:r>
              <a:rPr lang="en-US" sz="2400" dirty="0">
                <a:gradFill>
                  <a:gsLst>
                    <a:gs pos="0">
                      <a:srgbClr val="FFFFFF"/>
                    </a:gs>
                    <a:gs pos="100000">
                      <a:srgbClr val="FFFFFF"/>
                    </a:gs>
                  </a:gsLst>
                  <a:lin ang="5400000" scaled="0"/>
                </a:gradFill>
                <a:ea typeface="Segoe UI" pitchFamily="34" charset="0"/>
                <a:cs typeface="Segoe UI" pitchFamily="34" charset="0"/>
              </a:rPr>
              <a:t>Visualization</a:t>
            </a:r>
          </a:p>
        </p:txBody>
      </p:sp>
      <p:sp>
        <p:nvSpPr>
          <p:cNvPr id="15" name="Rectangle 14"/>
          <p:cNvSpPr/>
          <p:nvPr/>
        </p:nvSpPr>
        <p:spPr bwMode="auto">
          <a:xfrm>
            <a:off x="5357387" y="1672574"/>
            <a:ext cx="2122394" cy="2041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Data Market Place</a:t>
            </a:r>
          </a:p>
        </p:txBody>
      </p:sp>
      <p:sp>
        <p:nvSpPr>
          <p:cNvPr id="16" name="Rectangle 15"/>
          <p:cNvSpPr/>
          <p:nvPr/>
        </p:nvSpPr>
        <p:spPr bwMode="auto">
          <a:xfrm>
            <a:off x="7764647" y="1687768"/>
            <a:ext cx="2126540" cy="20263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xcel on HPC Cluster</a:t>
            </a: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46709" y="3948762"/>
            <a:ext cx="2126540" cy="1871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err="1" smtClean="0">
                <a:gradFill>
                  <a:gsLst>
                    <a:gs pos="0">
                      <a:srgbClr val="FFFFFF"/>
                    </a:gs>
                    <a:gs pos="100000">
                      <a:srgbClr val="FFFFFF"/>
                    </a:gs>
                  </a:gsLst>
                  <a:lin ang="5400000" scaled="0"/>
                </a:gradFill>
                <a:ea typeface="Segoe UI" pitchFamily="34" charset="0"/>
                <a:cs typeface="Segoe UI" pitchFamily="34" charset="0"/>
              </a:rPr>
              <a:t>StreamInsight</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14061"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Complex Event Processing</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itle 3"/>
          <p:cNvSpPr txBox="1">
            <a:spLocks/>
          </p:cNvSpPr>
          <p:nvPr/>
        </p:nvSpPr>
        <p:spPr>
          <a:xfrm>
            <a:off x="519112" y="574481"/>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4800" dirty="0" smtClean="0"/>
              <a:t>Big Data Tools</a:t>
            </a:r>
            <a:endParaRPr lang="en-US" sz="4800" dirty="0"/>
          </a:p>
        </p:txBody>
      </p:sp>
    </p:spTree>
    <p:extLst>
      <p:ext uri="{BB962C8B-B14F-4D97-AF65-F5344CB8AC3E}">
        <p14:creationId xmlns:p14="http://schemas.microsoft.com/office/powerpoint/2010/main" val="271960640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87394" y="1687354"/>
            <a:ext cx="10693401" cy="5170646"/>
          </a:xfrm>
        </p:spPr>
        <p:txBody>
          <a:bodyPr/>
          <a:lstStyle/>
          <a:p>
            <a:pPr lvl="0">
              <a:spcBef>
                <a:spcPts val="0"/>
              </a:spcBef>
            </a:pPr>
            <a:r>
              <a:rPr lang="en-GB" sz="2800" dirty="0"/>
              <a:t>C</a:t>
            </a:r>
            <a:r>
              <a:rPr lang="en-GB" sz="2800" dirty="0" smtClean="0"/>
              <a:t>reate </a:t>
            </a:r>
            <a:r>
              <a:rPr lang="en-GB" sz="2800" dirty="0"/>
              <a:t>compelling self-service </a:t>
            </a:r>
            <a:r>
              <a:rPr lang="en-GB" sz="2800" dirty="0" smtClean="0"/>
              <a:t>“business intelligence” (BI) solutions - </a:t>
            </a:r>
            <a:r>
              <a:rPr lang="en-US" sz="2800" dirty="0"/>
              <a:t> transform raw data into meaningful and useful information</a:t>
            </a:r>
            <a:endParaRPr lang="en-GB" sz="2800" dirty="0" smtClean="0"/>
          </a:p>
          <a:p>
            <a:pPr marL="0" lvl="0" indent="0">
              <a:spcBef>
                <a:spcPts val="0"/>
              </a:spcBef>
              <a:buNone/>
            </a:pPr>
            <a:r>
              <a:rPr lang="en-GB" sz="2800" dirty="0" smtClean="0"/>
              <a:t/>
            </a:r>
            <a:br>
              <a:rPr lang="en-GB" sz="2800" dirty="0" smtClean="0"/>
            </a:br>
            <a:r>
              <a:rPr lang="en-GB" sz="2800" dirty="0" smtClean="0"/>
              <a:t>Using Familiar </a:t>
            </a:r>
            <a:r>
              <a:rPr lang="en-GB" sz="2800" dirty="0"/>
              <a:t>Excel </a:t>
            </a:r>
            <a:r>
              <a:rPr lang="en-GB" sz="2800" dirty="0" smtClean="0"/>
              <a:t>Interface</a:t>
            </a:r>
          </a:p>
          <a:p>
            <a:pPr lvl="0">
              <a:spcBef>
                <a:spcPts val="0"/>
              </a:spcBef>
            </a:pPr>
            <a:endParaRPr lang="en-US" sz="2800" b="1" dirty="0" smtClean="0"/>
          </a:p>
          <a:p>
            <a:pPr marL="571500" indent="-571500">
              <a:spcBef>
                <a:spcPts val="0"/>
              </a:spcBef>
              <a:buFont typeface="Arial" pitchFamily="34" charset="0"/>
              <a:buChar char="•"/>
            </a:pPr>
            <a:r>
              <a:rPr lang="en-US" sz="2800" dirty="0" smtClean="0"/>
              <a:t>BI </a:t>
            </a:r>
            <a:r>
              <a:rPr lang="en-US" sz="2800" dirty="0"/>
              <a:t>Semantic </a:t>
            </a:r>
            <a:r>
              <a:rPr lang="en-US" sz="2800" dirty="0" smtClean="0"/>
              <a:t>Model</a:t>
            </a:r>
            <a:endParaRPr lang="en-US" sz="2800" dirty="0"/>
          </a:p>
          <a:p>
            <a:pPr marL="571500" indent="-571500">
              <a:spcBef>
                <a:spcPts val="0"/>
              </a:spcBef>
              <a:buFont typeface="Arial" pitchFamily="34" charset="0"/>
              <a:buChar char="•"/>
            </a:pPr>
            <a:r>
              <a:rPr lang="en-US" sz="2800" dirty="0" smtClean="0"/>
              <a:t>In memory compressed column store</a:t>
            </a:r>
          </a:p>
          <a:p>
            <a:pPr marL="571500" indent="-571500">
              <a:spcBef>
                <a:spcPts val="0"/>
              </a:spcBef>
              <a:buFont typeface="Arial" pitchFamily="34" charset="0"/>
              <a:buChar char="•"/>
            </a:pPr>
            <a:r>
              <a:rPr lang="en-US" sz="2800" dirty="0" smtClean="0"/>
              <a:t>Sophisticated </a:t>
            </a:r>
            <a:r>
              <a:rPr lang="en-US" sz="2800" dirty="0"/>
              <a:t>T</a:t>
            </a:r>
            <a:r>
              <a:rPr lang="en-US" sz="2800" dirty="0" smtClean="0"/>
              <a:t>ime Intelligence</a:t>
            </a:r>
          </a:p>
          <a:p>
            <a:pPr marL="571500" indent="-571500">
              <a:spcBef>
                <a:spcPts val="0"/>
              </a:spcBef>
              <a:buFont typeface="Arial" pitchFamily="34" charset="0"/>
              <a:buChar char="•"/>
            </a:pPr>
            <a:r>
              <a:rPr lang="en-US" sz="2800" dirty="0" err="1" smtClean="0"/>
              <a:t>Mashups</a:t>
            </a:r>
            <a:r>
              <a:rPr lang="en-US" sz="2800" dirty="0" smtClean="0"/>
              <a:t/>
            </a:r>
            <a:br>
              <a:rPr lang="en-US" sz="2800" dirty="0" smtClean="0"/>
            </a:br>
            <a:endParaRPr lang="en-US" sz="2800" dirty="0" smtClean="0"/>
          </a:p>
          <a:p>
            <a:pPr marL="571500" indent="-571500">
              <a:spcBef>
                <a:spcPts val="0"/>
              </a:spcBef>
              <a:buFont typeface="Arial" pitchFamily="34" charset="0"/>
              <a:buChar char="•"/>
            </a:pPr>
            <a:r>
              <a:rPr lang="en-US" sz="2800" dirty="0" smtClean="0"/>
              <a:t>Research scientists can benefit too</a:t>
            </a:r>
            <a:endParaRPr lang="en-US" sz="2800" dirty="0"/>
          </a:p>
          <a:p>
            <a:pPr>
              <a:spcBef>
                <a:spcPts val="0"/>
              </a:spcBef>
            </a:pPr>
            <a:endParaRPr lang="en-US" sz="2800" dirty="0" smtClean="0"/>
          </a:p>
        </p:txBody>
      </p:sp>
      <p:sp>
        <p:nvSpPr>
          <p:cNvPr id="2" name="Title 1"/>
          <p:cNvSpPr>
            <a:spLocks noGrp="1"/>
          </p:cNvSpPr>
          <p:nvPr>
            <p:ph type="title" idx="4294967295"/>
          </p:nvPr>
        </p:nvSpPr>
        <p:spPr>
          <a:xfrm>
            <a:off x="387394" y="258763"/>
            <a:ext cx="11149013" cy="747712"/>
          </a:xfrm>
        </p:spPr>
        <p:txBody>
          <a:bodyPr/>
          <a:lstStyle/>
          <a:p>
            <a:r>
              <a:rPr lang="en-US" dirty="0" smtClean="0">
                <a:solidFill>
                  <a:schemeClr val="bg1"/>
                </a:solidFill>
              </a:rPr>
              <a:t>What is PowerPivot?</a:t>
            </a:r>
            <a:endParaRPr lang="en-US" dirty="0">
              <a:solidFill>
                <a:schemeClr val="bg1"/>
              </a:solidFill>
            </a:endParaRPr>
          </a:p>
        </p:txBody>
      </p:sp>
      <p:pic>
        <p:nvPicPr>
          <p:cNvPr id="4" name="Picture 4" descr="C:\User Data\SQLBI\NewTemplate\Deck Gemini\3DArt\empower2.png"/>
          <p:cNvPicPr>
            <a:picLocks noChangeAspect="1" noChangeArrowheads="1"/>
          </p:cNvPicPr>
          <p:nvPr/>
        </p:nvPicPr>
        <p:blipFill>
          <a:blip r:embed="rId3" cstate="print"/>
          <a:stretch>
            <a:fillRect/>
          </a:stretch>
        </p:blipFill>
        <p:spPr bwMode="auto">
          <a:xfrm>
            <a:off x="7008575" y="3520280"/>
            <a:ext cx="4982885" cy="3032921"/>
          </a:xfrm>
          <a:prstGeom prst="rect">
            <a:avLst/>
          </a:prstGeom>
          <a:noFill/>
          <a:ln w="9525">
            <a:noFill/>
            <a:miter lim="800000"/>
            <a:headEnd/>
            <a:tailEnd/>
          </a:ln>
        </p:spPr>
      </p:pic>
    </p:spTree>
    <p:extLst>
      <p:ext uri="{BB962C8B-B14F-4D97-AF65-F5344CB8AC3E}">
        <p14:creationId xmlns:p14="http://schemas.microsoft.com/office/powerpoint/2010/main" val="21757216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8670" y="214313"/>
            <a:ext cx="11149013" cy="747712"/>
          </a:xfrm>
        </p:spPr>
        <p:txBody>
          <a:bodyPr/>
          <a:lstStyle/>
          <a:p>
            <a:r>
              <a:rPr lang="en-US" dirty="0" smtClean="0">
                <a:solidFill>
                  <a:schemeClr val="bg1"/>
                </a:solidFill>
              </a:rPr>
              <a:t>PowerPivot Versions</a:t>
            </a:r>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161" y="961445"/>
            <a:ext cx="10603522" cy="523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78148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US" sz="4800" dirty="0"/>
              <a:t>Power View is an interactive data exploration and visual presentation </a:t>
            </a:r>
            <a:r>
              <a:rPr lang="en-US" sz="4800" dirty="0" smtClean="0"/>
              <a:t>experience</a:t>
            </a:r>
            <a:endParaRPr lang="en-US" sz="4800" dirty="0"/>
          </a:p>
        </p:txBody>
      </p:sp>
      <p:sp>
        <p:nvSpPr>
          <p:cNvPr id="2" name="Title 1"/>
          <p:cNvSpPr>
            <a:spLocks noGrp="1"/>
          </p:cNvSpPr>
          <p:nvPr>
            <p:ph type="title" idx="4294967295"/>
          </p:nvPr>
        </p:nvSpPr>
        <p:spPr>
          <a:xfrm>
            <a:off x="250722" y="258763"/>
            <a:ext cx="11149013" cy="747712"/>
          </a:xfrm>
        </p:spPr>
        <p:txBody>
          <a:bodyPr/>
          <a:lstStyle/>
          <a:p>
            <a:r>
              <a:rPr lang="en-US" dirty="0" smtClean="0">
                <a:solidFill>
                  <a:schemeClr val="bg1"/>
                </a:solidFill>
              </a:rPr>
              <a:t>What is Power View?</a:t>
            </a:r>
            <a:endParaRPr lang="en-US" dirty="0">
              <a:solidFill>
                <a:schemeClr val="bg1"/>
              </a:solidFill>
            </a:endParaRPr>
          </a:p>
        </p:txBody>
      </p:sp>
    </p:spTree>
    <p:extLst>
      <p:ext uri="{BB962C8B-B14F-4D97-AF65-F5344CB8AC3E}">
        <p14:creationId xmlns:p14="http://schemas.microsoft.com/office/powerpoint/2010/main" val="8476480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1206" y="228600"/>
            <a:ext cx="11149013" cy="747713"/>
          </a:xfrm>
        </p:spPr>
        <p:txBody>
          <a:bodyPr/>
          <a:lstStyle/>
          <a:p>
            <a:r>
              <a:rPr lang="en-US" dirty="0" smtClean="0">
                <a:solidFill>
                  <a:schemeClr val="bg1"/>
                </a:solidFill>
              </a:rPr>
              <a:t>SharePoint Architecture</a:t>
            </a:r>
            <a:endParaRPr lang="en-US" dirty="0">
              <a:solidFill>
                <a:schemeClr val="bg1"/>
              </a:solidFill>
            </a:endParaRPr>
          </a:p>
        </p:txBody>
      </p:sp>
      <p:pic>
        <p:nvPicPr>
          <p:cNvPr id="1026" name="Picture 2" descr="http://www.dreamstime.com/msn-people-icon-2-largethumb384820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9766" b="95703" l="9825" r="89825"/>
                    </a14:imgEffect>
                  </a14:imgLayer>
                </a14:imgProps>
              </a:ext>
              <a:ext uri="{28A0092B-C50C-407E-A947-70E740481C1C}">
                <a14:useLocalDpi xmlns:a14="http://schemas.microsoft.com/office/drawing/2010/main" val="0"/>
              </a:ext>
            </a:extLst>
          </a:blip>
          <a:srcRect/>
          <a:stretch>
            <a:fillRect/>
          </a:stretch>
        </p:blipFill>
        <p:spPr bwMode="auto">
          <a:xfrm>
            <a:off x="466821" y="1560693"/>
            <a:ext cx="1579960" cy="106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1 Awareness\Events\Convergence\Graphics\Rectangle_LtBlue_small.png"/>
          <p:cNvPicPr>
            <a:picLocks noChangeAspect="1" noChangeArrowheads="1"/>
          </p:cNvPicPr>
          <p:nvPr/>
        </p:nvPicPr>
        <p:blipFill>
          <a:blip r:embed="rId5">
            <a:lum contrast="50000"/>
          </a:blip>
          <a:srcRect/>
          <a:stretch>
            <a:fillRect/>
          </a:stretch>
        </p:blipFill>
        <p:spPr bwMode="auto">
          <a:xfrm>
            <a:off x="1798773" y="1530784"/>
            <a:ext cx="7564126" cy="5168402"/>
          </a:xfrm>
          <a:prstGeom prst="rect">
            <a:avLst/>
          </a:prstGeom>
          <a:noFill/>
          <a:ln w="9525">
            <a:noFill/>
            <a:miter lim="800000"/>
            <a:headEnd/>
            <a:tailEnd/>
          </a:ln>
        </p:spPr>
      </p:pic>
      <p:pic>
        <p:nvPicPr>
          <p:cNvPr id="9"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5858253" y="2268161"/>
            <a:ext cx="3080688" cy="3917910"/>
          </a:xfrm>
          <a:prstGeom prst="rect">
            <a:avLst/>
          </a:prstGeom>
          <a:noFill/>
          <a:ln w="25400">
            <a:noFill/>
            <a:miter lim="800000"/>
            <a:headEnd/>
            <a:tailEnd/>
          </a:ln>
        </p:spPr>
      </p:pic>
      <p:sp>
        <p:nvSpPr>
          <p:cNvPr id="12" name="Rounded Rectangle 11"/>
          <p:cNvSpPr/>
          <p:nvPr/>
        </p:nvSpPr>
        <p:spPr bwMode="auto">
          <a:xfrm>
            <a:off x="6593432" y="2877169"/>
            <a:ext cx="1909891" cy="597167"/>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RS Shared Service</a:t>
            </a:r>
            <a:endParaRPr lang="en-US" sz="1400" dirty="0">
              <a:solidFill>
                <a:schemeClr val="bg1"/>
              </a:solidFill>
            </a:endParaRPr>
          </a:p>
        </p:txBody>
      </p:sp>
      <p:sp>
        <p:nvSpPr>
          <p:cNvPr id="14" name="Rectangle 13"/>
          <p:cNvSpPr>
            <a:spLocks noChangeArrowheads="1"/>
          </p:cNvSpPr>
          <p:nvPr/>
        </p:nvSpPr>
        <p:spPr bwMode="auto">
          <a:xfrm>
            <a:off x="3627703" y="1712901"/>
            <a:ext cx="4579807" cy="317500"/>
          </a:xfrm>
          <a:prstGeom prst="rect">
            <a:avLst/>
          </a:prstGeom>
          <a:noFill/>
          <a:ln w="19050" cap="flat" cmpd="sng" algn="ctr">
            <a:noFill/>
            <a:prstDash val="solid"/>
            <a:miter lim="800000"/>
            <a:headEnd type="none" w="med" len="med"/>
            <a:tailEnd type="none" w="med" len="med"/>
          </a:ln>
          <a:effectLst/>
        </p:spPr>
        <p:txBody>
          <a:bodyPr wrap="none" lIns="91436" tIns="45718" rIns="91436" bIns="45718"/>
          <a:lstStyle/>
          <a:p>
            <a:pPr algn="ctr">
              <a:defRPr/>
            </a:pPr>
            <a:r>
              <a:rPr lang="en-US" sz="1700" dirty="0" smtClean="0">
                <a:solidFill>
                  <a:schemeClr val="bg1"/>
                </a:solidFill>
                <a:latin typeface="+mn-lt"/>
              </a:rPr>
              <a:t>SharePoin</a:t>
            </a:r>
            <a:r>
              <a:rPr lang="en-US" sz="1700" dirty="0" smtClean="0">
                <a:solidFill>
                  <a:schemeClr val="bg1"/>
                </a:solidFill>
              </a:rPr>
              <a:t>t Farm</a:t>
            </a:r>
            <a:endParaRPr lang="en-US" sz="1700" dirty="0">
              <a:solidFill>
                <a:schemeClr val="bg1"/>
              </a:solidFill>
            </a:endParaRPr>
          </a:p>
        </p:txBody>
      </p:sp>
      <p:sp>
        <p:nvSpPr>
          <p:cNvPr id="15" name="Rectangle 14"/>
          <p:cNvSpPr>
            <a:spLocks noChangeArrowheads="1"/>
          </p:cNvSpPr>
          <p:nvPr/>
        </p:nvSpPr>
        <p:spPr bwMode="auto">
          <a:xfrm>
            <a:off x="54362" y="3166975"/>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Power View via Browser</a:t>
            </a:r>
            <a:endParaRPr lang="en-US" sz="1500" dirty="0">
              <a:solidFill>
                <a:schemeClr val="bg1"/>
              </a:solidFill>
            </a:endParaRPr>
          </a:p>
        </p:txBody>
      </p:sp>
      <p:sp>
        <p:nvSpPr>
          <p:cNvPr id="16" name="Rectangle 15"/>
          <p:cNvSpPr>
            <a:spLocks noChangeArrowheads="1"/>
          </p:cNvSpPr>
          <p:nvPr/>
        </p:nvSpPr>
        <p:spPr bwMode="auto">
          <a:xfrm>
            <a:off x="6626826" y="2383874"/>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latin typeface="+mn-lt"/>
              </a:rPr>
              <a:t>App Server</a:t>
            </a:r>
            <a:endParaRPr lang="en-US" sz="1400" dirty="0">
              <a:solidFill>
                <a:schemeClr val="bg1"/>
              </a:solidFill>
              <a:latin typeface="+mn-lt"/>
            </a:endParaRPr>
          </a:p>
        </p:txBody>
      </p:sp>
      <p:sp>
        <p:nvSpPr>
          <p:cNvPr id="17" name="Rectangle 16"/>
          <p:cNvSpPr>
            <a:spLocks noChangeArrowheads="1"/>
          </p:cNvSpPr>
          <p:nvPr/>
        </p:nvSpPr>
        <p:spPr bwMode="auto">
          <a:xfrm>
            <a:off x="9798774" y="5728871"/>
            <a:ext cx="2328100" cy="457200"/>
          </a:xfrm>
          <a:prstGeom prst="rect">
            <a:avLst/>
          </a:prstGeom>
          <a:noFill/>
          <a:ln w="9525" cap="flat" cmpd="sng" algn="ctr">
            <a:noFill/>
            <a:prstDash val="solid"/>
            <a:miter lim="800000"/>
            <a:headEnd type="none" w="med" len="med"/>
            <a:tailEnd type="none" w="med" len="med"/>
          </a:ln>
          <a:effectLst/>
        </p:spPr>
        <p:txBody>
          <a:bodyPr wrap="none" lIns="76197" tIns="38098" rIns="76197" bIns="38098" anchor="ctr"/>
          <a:lstStyle/>
          <a:p>
            <a:pPr algn="ctr">
              <a:defRPr/>
            </a:pPr>
            <a:r>
              <a:rPr lang="en-US" sz="1300" dirty="0" smtClean="0">
                <a:solidFill>
                  <a:schemeClr val="bg1"/>
                </a:solidFill>
                <a:latin typeface="+mn-lt"/>
              </a:rPr>
              <a:t>Data sources</a:t>
            </a:r>
            <a:endParaRPr lang="en-US" sz="1300" dirty="0">
              <a:solidFill>
                <a:schemeClr val="bg1"/>
              </a:solidFill>
              <a:latin typeface="+mn-lt"/>
            </a:endParaRPr>
          </a:p>
        </p:txBody>
      </p:sp>
      <p:sp>
        <p:nvSpPr>
          <p:cNvPr id="22" name="Rounded Rectangle 21"/>
          <p:cNvSpPr/>
          <p:nvPr/>
        </p:nvSpPr>
        <p:spPr bwMode="auto">
          <a:xfrm>
            <a:off x="6572734" y="4674436"/>
            <a:ext cx="1909891" cy="701822"/>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Analysis Services SP Integrated</a:t>
            </a:r>
            <a:endParaRPr lang="en-US" sz="1400" dirty="0">
              <a:solidFill>
                <a:schemeClr val="bg1"/>
              </a:solidFill>
            </a:endParaRPr>
          </a:p>
        </p:txBody>
      </p:sp>
      <p:sp>
        <p:nvSpPr>
          <p:cNvPr id="23" name="Rounded Rectangle 22"/>
          <p:cNvSpPr/>
          <p:nvPr/>
        </p:nvSpPr>
        <p:spPr bwMode="auto">
          <a:xfrm>
            <a:off x="6593432" y="3769235"/>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System Service</a:t>
            </a:r>
          </a:p>
        </p:txBody>
      </p:sp>
      <p:sp>
        <p:nvSpPr>
          <p:cNvPr id="24" name="Flowchart: Direct Access Storage 23"/>
          <p:cNvSpPr/>
          <p:nvPr/>
        </p:nvSpPr>
        <p:spPr bwMode="auto">
          <a:xfrm rot="16200000">
            <a:off x="10227905"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25" name="Flowchart: Direct Access Storage 24"/>
          <p:cNvSpPr/>
          <p:nvPr/>
        </p:nvSpPr>
        <p:spPr bwMode="auto">
          <a:xfrm rot="16200000">
            <a:off x="10997152" y="5118469"/>
            <a:ext cx="576076" cy="644729"/>
          </a:xfrm>
          <a:prstGeom prst="flowChartMagneticDrum">
            <a:avLst/>
          </a:prstGeom>
          <a:gradFill>
            <a:gsLst>
              <a:gs pos="0">
                <a:srgbClr val="328094">
                  <a:alpha val="20000"/>
                </a:srgbClr>
              </a:gs>
              <a:gs pos="100000">
                <a:srgbClr val="87C1D5">
                  <a:alpha val="63000"/>
                </a:srgbClr>
              </a:gs>
            </a:gsLst>
            <a:lin ang="4500000" scaled="0"/>
          </a:gradFill>
          <a:ln w="22225">
            <a:gradFill flip="none" rotWithShape="1">
              <a:gsLst>
                <a:gs pos="0">
                  <a:schemeClr val="tx1"/>
                </a:gs>
                <a:gs pos="100000">
                  <a:srgbClr val="AFD5E3"/>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0" hangingPunct="0">
              <a:lnSpc>
                <a:spcPct val="85000"/>
              </a:lnSpc>
              <a:defRPr/>
            </a:pPr>
            <a:endParaRPr lang="en-US" dirty="0">
              <a:solidFill>
                <a:schemeClr val="bg1"/>
              </a:solidFill>
            </a:endParaRPr>
          </a:p>
        </p:txBody>
      </p:sp>
      <p:sp>
        <p:nvSpPr>
          <p:cNvPr id="5" name="Cube 4"/>
          <p:cNvSpPr/>
          <p:nvPr/>
        </p:nvSpPr>
        <p:spPr bwMode="auto">
          <a:xfrm>
            <a:off x="9670574" y="3368288"/>
            <a:ext cx="1292250" cy="839880"/>
          </a:xfrm>
          <a:prstGeom prst="cube">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algn="ctr" defTabSz="914099" eaLnBrk="0" hangingPunct="0">
              <a:lnSpc>
                <a:spcPct val="85000"/>
              </a:lnSpc>
            </a:pPr>
            <a:r>
              <a:rPr lang="en-US" sz="1400" dirty="0" smtClean="0">
                <a:solidFill>
                  <a:schemeClr val="bg1"/>
                </a:solidFill>
              </a:rPr>
              <a:t>AS Server</a:t>
            </a:r>
            <a:endParaRPr lang="en-US" sz="1400" dirty="0">
              <a:solidFill>
                <a:schemeClr val="bg1"/>
              </a:solidFill>
            </a:endParaRPr>
          </a:p>
        </p:txBody>
      </p:sp>
      <p:sp>
        <p:nvSpPr>
          <p:cNvPr id="32" name="Up-Down Arrow 31"/>
          <p:cNvSpPr>
            <a:spLocks noChangeArrowheads="1"/>
          </p:cNvSpPr>
          <p:nvPr/>
        </p:nvSpPr>
        <p:spPr bwMode="auto">
          <a:xfrm rot="16200000">
            <a:off x="8846448" y="3349728"/>
            <a:ext cx="258746" cy="1262875"/>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3" name="Up-Down Arrow 32"/>
          <p:cNvSpPr>
            <a:spLocks noChangeArrowheads="1"/>
          </p:cNvSpPr>
          <p:nvPr/>
        </p:nvSpPr>
        <p:spPr bwMode="auto">
          <a:xfrm>
            <a:off x="10302193" y="4255191"/>
            <a:ext cx="225148" cy="802663"/>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4" name="Up-Down Arrow 33"/>
          <p:cNvSpPr>
            <a:spLocks noChangeArrowheads="1"/>
          </p:cNvSpPr>
          <p:nvPr/>
        </p:nvSpPr>
        <p:spPr bwMode="auto">
          <a:xfrm>
            <a:off x="7435802" y="4340140"/>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38" name="Up-Down Arrow 37"/>
          <p:cNvSpPr>
            <a:spLocks noChangeArrowheads="1"/>
          </p:cNvSpPr>
          <p:nvPr/>
        </p:nvSpPr>
        <p:spPr bwMode="auto">
          <a:xfrm>
            <a:off x="7435802" y="3423783"/>
            <a:ext cx="225148" cy="401332"/>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26" name="Picture 3" descr="C:\1 Awareness\Events\Convergence\Graphics\Rectangle_LtBlue_small.png"/>
          <p:cNvPicPr>
            <a:picLocks noChangeAspect="1" noChangeArrowheads="1"/>
          </p:cNvPicPr>
          <p:nvPr/>
        </p:nvPicPr>
        <p:blipFill>
          <a:blip r:embed="rId5">
            <a:lum contrast="50000"/>
          </a:blip>
          <a:srcRect/>
          <a:stretch>
            <a:fillRect/>
          </a:stretch>
        </p:blipFill>
        <p:spPr bwMode="auto">
          <a:xfrm>
            <a:off x="2875768" y="2383875"/>
            <a:ext cx="2696908" cy="3225721"/>
          </a:xfrm>
          <a:prstGeom prst="rect">
            <a:avLst/>
          </a:prstGeom>
          <a:noFill/>
          <a:ln w="25400">
            <a:noFill/>
            <a:miter lim="800000"/>
            <a:headEnd/>
            <a:tailEnd/>
          </a:ln>
        </p:spPr>
      </p:pic>
      <p:sp>
        <p:nvSpPr>
          <p:cNvPr id="36" name="Up-Down Arrow 35"/>
          <p:cNvSpPr>
            <a:spLocks noChangeArrowheads="1"/>
          </p:cNvSpPr>
          <p:nvPr/>
        </p:nvSpPr>
        <p:spPr bwMode="auto">
          <a:xfrm rot="16200000">
            <a:off x="5689013" y="2797807"/>
            <a:ext cx="241393" cy="89956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8" name="Up-Down Arrow 27"/>
          <p:cNvSpPr>
            <a:spLocks noChangeArrowheads="1"/>
          </p:cNvSpPr>
          <p:nvPr/>
        </p:nvSpPr>
        <p:spPr bwMode="auto">
          <a:xfrm rot="16200000">
            <a:off x="2293167" y="2393212"/>
            <a:ext cx="241392" cy="1261269"/>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
        <p:nvSpPr>
          <p:cNvPr id="27" name="Rectangle 26"/>
          <p:cNvSpPr>
            <a:spLocks noChangeArrowheads="1"/>
          </p:cNvSpPr>
          <p:nvPr/>
        </p:nvSpPr>
        <p:spPr bwMode="auto">
          <a:xfrm>
            <a:off x="3395633" y="2426635"/>
            <a:ext cx="1909891" cy="45720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a:defRPr/>
            </a:pPr>
            <a:r>
              <a:rPr lang="en-US" sz="1400" dirty="0" smtClean="0">
                <a:solidFill>
                  <a:schemeClr val="bg1"/>
                </a:solidFill>
              </a:rPr>
              <a:t>Web Front End</a:t>
            </a:r>
            <a:endParaRPr lang="en-US" sz="1400" dirty="0">
              <a:solidFill>
                <a:schemeClr val="bg1"/>
              </a:solidFill>
            </a:endParaRPr>
          </a:p>
        </p:txBody>
      </p:sp>
      <p:sp>
        <p:nvSpPr>
          <p:cNvPr id="10" name="Rounded Rectangle 9"/>
          <p:cNvSpPr/>
          <p:nvPr/>
        </p:nvSpPr>
        <p:spPr bwMode="auto">
          <a:xfrm>
            <a:off x="3601940" y="2911386"/>
            <a:ext cx="1584789" cy="958550"/>
          </a:xfrm>
          <a:prstGeom prst="roundRect">
            <a:avLst>
              <a:gd name="adj" fmla="val 19037"/>
            </a:avLst>
          </a:prstGeom>
          <a:gradFill>
            <a:gsLst>
              <a:gs pos="0">
                <a:schemeClr val="accent1">
                  <a:lumMod val="75000"/>
                  <a:alpha val="18000"/>
                </a:schemeClr>
              </a:gs>
              <a:gs pos="100000">
                <a:srgbClr val="FF9C00">
                  <a:alpha val="90000"/>
                </a:srgbClr>
              </a:gs>
            </a:gsLst>
            <a:lin ang="4500000" scaled="0"/>
          </a:gradFill>
          <a:ln w="22225">
            <a:gradFill flip="none" rotWithShape="1">
              <a:gsLst>
                <a:gs pos="0">
                  <a:schemeClr val="tx1"/>
                </a:gs>
                <a:gs pos="100000">
                  <a:srgbClr val="FFB676"/>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r>
              <a:rPr lang="en-US" sz="1400" dirty="0" smtClean="0">
                <a:solidFill>
                  <a:schemeClr val="bg1"/>
                </a:solidFill>
              </a:rPr>
              <a:t>SSRS </a:t>
            </a:r>
            <a:r>
              <a:rPr lang="en-US" sz="1400" dirty="0" err="1" smtClean="0">
                <a:solidFill>
                  <a:schemeClr val="bg1"/>
                </a:solidFill>
              </a:rPr>
              <a:t>Addin</a:t>
            </a:r>
            <a:r>
              <a:rPr lang="en-US" sz="1400" dirty="0" smtClean="0">
                <a:solidFill>
                  <a:schemeClr val="bg1"/>
                </a:solidFill>
              </a:rPr>
              <a:t> for SharePoint</a:t>
            </a:r>
            <a:endParaRPr lang="en-US" sz="1400" dirty="0">
              <a:solidFill>
                <a:schemeClr val="bg1"/>
              </a:solidFill>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813" y="2720510"/>
            <a:ext cx="783671" cy="58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ounded Rectangle 29"/>
          <p:cNvSpPr/>
          <p:nvPr/>
        </p:nvSpPr>
        <p:spPr bwMode="auto">
          <a:xfrm>
            <a:off x="3450034" y="4144306"/>
            <a:ext cx="1909891" cy="597167"/>
          </a:xfrm>
          <a:prstGeom prst="roundRect">
            <a:avLst>
              <a:gd name="adj" fmla="val 19037"/>
            </a:avLst>
          </a:prstGeom>
          <a:gradFill>
            <a:gsLst>
              <a:gs pos="0">
                <a:schemeClr val="accent3">
                  <a:lumMod val="75000"/>
                </a:schemeClr>
              </a:gs>
              <a:gs pos="100000">
                <a:schemeClr val="accent3">
                  <a:lumMod val="40000"/>
                  <a:lumOff val="60000"/>
                </a:schemeClr>
              </a:gs>
            </a:gsLst>
            <a:lin ang="4500000" scaled="0"/>
          </a:gradFill>
          <a:ln w="22225">
            <a:gradFill flip="none" rotWithShape="1">
              <a:gsLst>
                <a:gs pos="0">
                  <a:schemeClr val="tx1"/>
                </a:gs>
                <a:gs pos="100000">
                  <a:schemeClr val="accent3">
                    <a:lumMod val="60000"/>
                    <a:lumOff val="40000"/>
                  </a:schemeClr>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r>
              <a:rPr lang="en-US" sz="1400" dirty="0" err="1">
                <a:solidFill>
                  <a:schemeClr val="bg1"/>
                </a:solidFill>
              </a:rPr>
              <a:t>PowerPivot</a:t>
            </a:r>
            <a:endParaRPr lang="en-US" sz="1400" dirty="0">
              <a:solidFill>
                <a:schemeClr val="bg1"/>
              </a:solidFill>
            </a:endParaRPr>
          </a:p>
          <a:p>
            <a:pPr algn="ctr" defTabSz="914099"/>
            <a:r>
              <a:rPr lang="en-US" sz="1400" dirty="0">
                <a:solidFill>
                  <a:schemeClr val="bg1"/>
                </a:solidFill>
              </a:rPr>
              <a:t>Web Service</a:t>
            </a:r>
          </a:p>
        </p:txBody>
      </p:sp>
      <p:pic>
        <p:nvPicPr>
          <p:cNvPr id="31" name="Rectangle 6173"/>
          <p:cNvPicPr>
            <a:picLocks noChangeAspect="1"/>
          </p:cNvPicPr>
          <p:nvPr/>
        </p:nvPicPr>
        <p:blipFill>
          <a:blip r:embed="rId7" cstate="print">
            <a:duotone>
              <a:schemeClr val="accent3">
                <a:shade val="45000"/>
                <a:satMod val="135000"/>
              </a:schemeClr>
              <a:prstClr val="white"/>
            </a:duotone>
          </a:blip>
          <a:srcRect/>
          <a:stretch>
            <a:fillRect/>
          </a:stretch>
        </p:blipFill>
        <p:spPr bwMode="auto">
          <a:xfrm>
            <a:off x="654010" y="5018029"/>
            <a:ext cx="288669" cy="457200"/>
          </a:xfrm>
          <a:prstGeom prst="rect">
            <a:avLst/>
          </a:prstGeom>
          <a:noFill/>
          <a:ln w="9525">
            <a:noFill/>
            <a:miter lim="800000"/>
            <a:headEnd/>
            <a:tailEnd/>
          </a:ln>
        </p:spPr>
      </p:pic>
      <p:pic>
        <p:nvPicPr>
          <p:cNvPr id="35" name="Picture 34" descr="Excel2007_ProductIcon.png"/>
          <p:cNvPicPr>
            <a:picLocks noChangeAspect="1"/>
          </p:cNvPicPr>
          <p:nvPr/>
        </p:nvPicPr>
        <p:blipFill>
          <a:blip r:embed="rId8" cstate="print"/>
          <a:stretch>
            <a:fillRect/>
          </a:stretch>
        </p:blipFill>
        <p:spPr>
          <a:xfrm>
            <a:off x="809231" y="5019247"/>
            <a:ext cx="464116" cy="337066"/>
          </a:xfrm>
          <a:prstGeom prst="rect">
            <a:avLst/>
          </a:prstGeom>
        </p:spPr>
      </p:pic>
      <p:sp>
        <p:nvSpPr>
          <p:cNvPr id="37" name="Rectangle 36"/>
          <p:cNvSpPr>
            <a:spLocks noChangeArrowheads="1"/>
          </p:cNvSpPr>
          <p:nvPr/>
        </p:nvSpPr>
        <p:spPr bwMode="auto">
          <a:xfrm>
            <a:off x="0" y="5479647"/>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latin typeface="+mn-lt"/>
              </a:rPr>
              <a:t>Excel </a:t>
            </a:r>
            <a:r>
              <a:rPr lang="en-US" sz="1500" dirty="0" err="1" smtClean="0">
                <a:solidFill>
                  <a:schemeClr val="bg1"/>
                </a:solidFill>
                <a:latin typeface="+mn-lt"/>
              </a:rPr>
              <a:t>PowerPivot</a:t>
            </a:r>
            <a:r>
              <a:rPr lang="en-US" sz="1500" dirty="0" smtClean="0">
                <a:solidFill>
                  <a:schemeClr val="bg1"/>
                </a:solidFill>
                <a:latin typeface="+mn-lt"/>
              </a:rPr>
              <a:t> </a:t>
            </a:r>
          </a:p>
          <a:p>
            <a:pPr algn="ctr" eaLnBrk="0" hangingPunct="0">
              <a:defRPr/>
            </a:pPr>
            <a:r>
              <a:rPr lang="en-US" sz="1500" dirty="0" smtClean="0">
                <a:solidFill>
                  <a:schemeClr val="bg1"/>
                </a:solidFill>
              </a:rPr>
              <a:t>Model</a:t>
            </a:r>
            <a:endParaRPr lang="en-US" sz="1500" dirty="0">
              <a:solidFill>
                <a:schemeClr val="bg1"/>
              </a:solidFill>
            </a:endParaRPr>
          </a:p>
        </p:txBody>
      </p:sp>
      <p:sp>
        <p:nvSpPr>
          <p:cNvPr id="39" name="Up-Down Arrow 38"/>
          <p:cNvSpPr>
            <a:spLocks noChangeArrowheads="1"/>
          </p:cNvSpPr>
          <p:nvPr/>
        </p:nvSpPr>
        <p:spPr bwMode="auto">
          <a:xfrm rot="16200000">
            <a:off x="1795576" y="4707879"/>
            <a:ext cx="241392" cy="1095367"/>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1247" y="1781480"/>
            <a:ext cx="1213125" cy="459859"/>
          </a:xfrm>
          <a:prstGeom prst="rect">
            <a:avLst/>
          </a:prstGeom>
        </p:spPr>
      </p:pic>
      <p:sp>
        <p:nvSpPr>
          <p:cNvPr id="42" name="Rectangle 41"/>
          <p:cNvSpPr>
            <a:spLocks noChangeArrowheads="1"/>
          </p:cNvSpPr>
          <p:nvPr/>
        </p:nvSpPr>
        <p:spPr bwMode="auto">
          <a:xfrm>
            <a:off x="9156440" y="2246132"/>
            <a:ext cx="2219297" cy="472920"/>
          </a:xfrm>
          <a:prstGeom prst="rect">
            <a:avLst/>
          </a:prstGeom>
          <a:noFill/>
          <a:ln w="9525" cap="flat" cmpd="sng" algn="ctr">
            <a:noFill/>
            <a:prstDash val="solid"/>
            <a:miter lim="800000"/>
            <a:headEnd type="none" w="med" len="med"/>
            <a:tailEnd type="none" w="med" len="med"/>
          </a:ln>
          <a:effectLst/>
        </p:spPr>
        <p:txBody>
          <a:bodyPr wrap="none" lIns="91436" tIns="45718" rIns="91436" bIns="45718" anchor="ctr"/>
          <a:lstStyle/>
          <a:p>
            <a:pPr algn="ctr" eaLnBrk="0" hangingPunct="0">
              <a:defRPr/>
            </a:pPr>
            <a:r>
              <a:rPr lang="en-US" sz="1500" dirty="0" smtClean="0">
                <a:solidFill>
                  <a:schemeClr val="bg1"/>
                </a:solidFill>
              </a:rPr>
              <a:t>SQL Server BIDS</a:t>
            </a:r>
          </a:p>
          <a:p>
            <a:pPr algn="ctr" eaLnBrk="0" hangingPunct="0">
              <a:defRPr/>
            </a:pPr>
            <a:r>
              <a:rPr lang="en-US" sz="1500" dirty="0" smtClean="0">
                <a:solidFill>
                  <a:schemeClr val="bg1"/>
                </a:solidFill>
              </a:rPr>
              <a:t>BISM Model</a:t>
            </a:r>
            <a:endParaRPr lang="en-US" sz="1500" dirty="0">
              <a:solidFill>
                <a:schemeClr val="bg1"/>
              </a:solidFill>
            </a:endParaRPr>
          </a:p>
        </p:txBody>
      </p:sp>
      <p:sp>
        <p:nvSpPr>
          <p:cNvPr id="43" name="Up-Down Arrow 42"/>
          <p:cNvSpPr>
            <a:spLocks noChangeArrowheads="1"/>
          </p:cNvSpPr>
          <p:nvPr/>
        </p:nvSpPr>
        <p:spPr bwMode="auto">
          <a:xfrm>
            <a:off x="10204125" y="2719052"/>
            <a:ext cx="225148" cy="585428"/>
          </a:xfrm>
          <a:prstGeom prst="upDownArrow">
            <a:avLst>
              <a:gd name="adj1" fmla="val 50000"/>
              <a:gd name="adj2" fmla="val 46244"/>
            </a:avLst>
          </a:prstGeom>
          <a:solidFill>
            <a:srgbClr val="F4B23C">
              <a:alpha val="80000"/>
            </a:srgbClr>
          </a:solidFill>
          <a:ln w="22225">
            <a:gradFill flip="none" rotWithShape="1">
              <a:gsLst>
                <a:gs pos="0">
                  <a:schemeClr val="tx1"/>
                </a:gs>
                <a:gs pos="100000">
                  <a:srgbClr val="FFF2AC"/>
                </a:gs>
              </a:gsLst>
              <a:path path="rect">
                <a:fillToRect l="100000" t="100000"/>
              </a:path>
              <a:tileRect r="-100000" b="-100000"/>
            </a:grad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177800" h="177800"/>
            <a:bevelB w="203200" h="203200"/>
            <a:extrusionClr>
              <a:srgbClr val="CCF37E"/>
            </a:extrusionClr>
            <a:contourClr>
              <a:schemeClr val="bg2">
                <a:lumMod val="50000"/>
                <a:lumOff val="50000"/>
              </a:schemeClr>
            </a:contourClr>
          </a:sp3d>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algn="ctr" defTabSz="914099">
              <a:defRPr/>
            </a:pPr>
            <a:endParaRPr lang="en-US" dirty="0">
              <a:solidFill>
                <a:schemeClr val="bg1"/>
              </a:solidFill>
            </a:endParaRPr>
          </a:p>
        </p:txBody>
      </p:sp>
    </p:spTree>
    <p:extLst>
      <p:ext uri="{BB962C8B-B14F-4D97-AF65-F5344CB8AC3E}">
        <p14:creationId xmlns:p14="http://schemas.microsoft.com/office/powerpoint/2010/main" val="22599935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083" y="304800"/>
            <a:ext cx="12524142" cy="2960912"/>
          </a:xfrm>
          <a:prstGeom prst="rect">
            <a:avLst/>
          </a:prstGeom>
        </p:spPr>
      </p:pic>
      <p:sp>
        <p:nvSpPr>
          <p:cNvPr id="112" name="Rounded Rectangle 111"/>
          <p:cNvSpPr/>
          <p:nvPr/>
        </p:nvSpPr>
        <p:spPr bwMode="auto">
          <a:xfrm>
            <a:off x="1842835" y="3223764"/>
            <a:ext cx="8503156" cy="2662052"/>
          </a:xfrm>
          <a:prstGeom prst="roundRect">
            <a:avLst>
              <a:gd name="adj" fmla="val 11007"/>
            </a:avLst>
          </a:prstGeom>
          <a:gradFill flip="none" rotWithShape="1">
            <a:gsLst>
              <a:gs pos="0">
                <a:schemeClr val="tx1">
                  <a:alpha val="31000"/>
                </a:schemeClr>
              </a:gs>
              <a:gs pos="52000">
                <a:schemeClr val="tx1">
                  <a:alpha val="15000"/>
                </a:schemeClr>
              </a:gs>
              <a:gs pos="100000">
                <a:schemeClr val="bg1">
                  <a:alpha val="7000"/>
                </a:schemeClr>
              </a:gs>
            </a:gsLst>
            <a:lin ang="16200000" scaled="0"/>
            <a:tileRect/>
          </a:gradFill>
          <a:ln w="12700" cap="flat" cmpd="sng" algn="ctr">
            <a:gradFill>
              <a:gsLst>
                <a:gs pos="0">
                  <a:srgbClr val="FFFFFF">
                    <a:alpha val="33000"/>
                  </a:srgbClr>
                </a:gs>
                <a:gs pos="50000">
                  <a:srgbClr val="FFFFFF">
                    <a:alpha val="0"/>
                  </a:srgbClr>
                </a:gs>
                <a:gs pos="100000">
                  <a:schemeClr val="accent1">
                    <a:alpha val="41000"/>
                  </a:schemeClr>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lvl="1" indent="-227147" algn="ctr" defTabSz="914159" fontAlgn="base">
              <a:lnSpc>
                <a:spcPct val="90000"/>
              </a:lnSpc>
              <a:spcBef>
                <a:spcPts val="630"/>
              </a:spcBef>
              <a:spcAft>
                <a:spcPts val="1620"/>
              </a:spcAft>
              <a:buClr>
                <a:srgbClr val="FFFF99"/>
              </a:buClr>
              <a:buSzPct val="120000"/>
              <a:buBlip>
                <a:blip r:embed="rId4"/>
              </a:buBlip>
              <a:tabLst>
                <a:tab pos="513595" algn="l"/>
              </a:tabLst>
              <a:defRPr/>
            </a:pPr>
            <a:endParaRPr lang="en-US" altLang="zh-CN" sz="3200" i="1" dirty="0" smtClean="0">
              <a:solidFill>
                <a:schemeClr val="tx2"/>
              </a:solidFill>
              <a:latin typeface="Segoe" pitchFamily="34" charset="0"/>
            </a:endParaRPr>
          </a:p>
        </p:txBody>
      </p:sp>
      <p:sp>
        <p:nvSpPr>
          <p:cNvPr id="113" name="Rectangle 112"/>
          <p:cNvSpPr/>
          <p:nvPr/>
        </p:nvSpPr>
        <p:spPr bwMode="auto">
          <a:xfrm>
            <a:off x="-34825" y="2152016"/>
            <a:ext cx="12293300" cy="3159445"/>
          </a:xfrm>
          <a:custGeom>
            <a:avLst/>
            <a:gdLst>
              <a:gd name="connsiteX0" fmla="*/ 0 w 9144000"/>
              <a:gd name="connsiteY0" fmla="*/ 0 h 3586348"/>
              <a:gd name="connsiteX1" fmla="*/ 9144000 w 9144000"/>
              <a:gd name="connsiteY1" fmla="*/ 0 h 3586348"/>
              <a:gd name="connsiteX2" fmla="*/ 9144000 w 9144000"/>
              <a:gd name="connsiteY2" fmla="*/ 3586348 h 3586348"/>
              <a:gd name="connsiteX3" fmla="*/ 0 w 9144000"/>
              <a:gd name="connsiteY3" fmla="*/ 3586348 h 3586348"/>
              <a:gd name="connsiteX4" fmla="*/ 0 w 9144000"/>
              <a:gd name="connsiteY4" fmla="*/ 0 h 3586348"/>
              <a:gd name="connsiteX0" fmla="*/ 0 w 9170126"/>
              <a:gd name="connsiteY0" fmla="*/ 182880 h 3586348"/>
              <a:gd name="connsiteX1" fmla="*/ 9170126 w 9170126"/>
              <a:gd name="connsiteY1" fmla="*/ 0 h 3586348"/>
              <a:gd name="connsiteX2" fmla="*/ 9170126 w 9170126"/>
              <a:gd name="connsiteY2" fmla="*/ 3586348 h 3586348"/>
              <a:gd name="connsiteX3" fmla="*/ 26126 w 9170126"/>
              <a:gd name="connsiteY3" fmla="*/ 3586348 h 3586348"/>
              <a:gd name="connsiteX4" fmla="*/ 0 w 9170126"/>
              <a:gd name="connsiteY4" fmla="*/ 182880 h 3586348"/>
              <a:gd name="connsiteX0" fmla="*/ 0 w 9222377"/>
              <a:gd name="connsiteY0" fmla="*/ 0 h 3403468"/>
              <a:gd name="connsiteX1" fmla="*/ 9222377 w 9222377"/>
              <a:gd name="connsiteY1" fmla="*/ 60960 h 3403468"/>
              <a:gd name="connsiteX2" fmla="*/ 9170126 w 9222377"/>
              <a:gd name="connsiteY2" fmla="*/ 3403468 h 3403468"/>
              <a:gd name="connsiteX3" fmla="*/ 26126 w 9222377"/>
              <a:gd name="connsiteY3" fmla="*/ 3403468 h 3403468"/>
              <a:gd name="connsiteX4" fmla="*/ 0 w 9222377"/>
              <a:gd name="connsiteY4" fmla="*/ 0 h 3403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377" h="3403468">
                <a:moveTo>
                  <a:pt x="0" y="0"/>
                </a:moveTo>
                <a:lnTo>
                  <a:pt x="9222377" y="60960"/>
                </a:lnTo>
                <a:lnTo>
                  <a:pt x="9170126" y="3403468"/>
                </a:lnTo>
                <a:lnTo>
                  <a:pt x="26126" y="3403468"/>
                </a:lnTo>
                <a:lnTo>
                  <a:pt x="0" y="0"/>
                </a:lnTo>
                <a:close/>
              </a:path>
            </a:pathLst>
          </a:custGeom>
          <a:gradFill flip="none" rotWithShape="1">
            <a:gsLst>
              <a:gs pos="0">
                <a:schemeClr val="bg2">
                  <a:lumMod val="25000"/>
                </a:schemeClr>
              </a:gs>
              <a:gs pos="52000">
                <a:schemeClr val="tx1">
                  <a:lumMod val="50000"/>
                  <a:lumOff val="50000"/>
                </a:schemeClr>
              </a:gs>
              <a:gs pos="100000">
                <a:schemeClr val="bg2">
                  <a:lumMod val="25000"/>
                </a:schemeClr>
              </a:gs>
            </a:gsLst>
            <a:lin ang="3600000" scaled="0"/>
            <a:tileRect/>
          </a:gradFill>
          <a:ln w="1270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chemeClr val="tx2"/>
              </a:solidFill>
              <a:latin typeface="Segoe" pitchFamily="34" charset="0"/>
            </a:endParaRPr>
          </a:p>
        </p:txBody>
      </p:sp>
      <p:sp>
        <p:nvSpPr>
          <p:cNvPr id="6" name="Rectangle 5"/>
          <p:cNvSpPr/>
          <p:nvPr/>
        </p:nvSpPr>
        <p:spPr bwMode="auto">
          <a:xfrm>
            <a:off x="-124790" y="1911533"/>
            <a:ext cx="12383265" cy="3386818"/>
          </a:xfrm>
          <a:custGeom>
            <a:avLst/>
            <a:gdLst>
              <a:gd name="connsiteX0" fmla="*/ 0 w 9220200"/>
              <a:gd name="connsiteY0" fmla="*/ 0 h 3629025"/>
              <a:gd name="connsiteX1" fmla="*/ 9220200 w 9220200"/>
              <a:gd name="connsiteY1" fmla="*/ 0 h 3629025"/>
              <a:gd name="connsiteX2" fmla="*/ 9220200 w 9220200"/>
              <a:gd name="connsiteY2" fmla="*/ 3629025 h 3629025"/>
              <a:gd name="connsiteX3" fmla="*/ 0 w 9220200"/>
              <a:gd name="connsiteY3" fmla="*/ 3629025 h 3629025"/>
              <a:gd name="connsiteX4" fmla="*/ 0 w 9220200"/>
              <a:gd name="connsiteY4"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0 w 9220200"/>
              <a:gd name="connsiteY4" fmla="*/ 3629025 h 3629025"/>
              <a:gd name="connsiteX5" fmla="*/ 0 w 9220200"/>
              <a:gd name="connsiteY5" fmla="*/ 0 h 3629025"/>
              <a:gd name="connsiteX0" fmla="*/ 0 w 9220200"/>
              <a:gd name="connsiteY0" fmla="*/ 0 h 3629025"/>
              <a:gd name="connsiteX1" fmla="*/ 9220200 w 9220200"/>
              <a:gd name="connsiteY1" fmla="*/ 0 h 3629025"/>
              <a:gd name="connsiteX2" fmla="*/ 9220200 w 9220200"/>
              <a:gd name="connsiteY2" fmla="*/ 3629025 h 3629025"/>
              <a:gd name="connsiteX3" fmla="*/ 371475 w 9220200"/>
              <a:gd name="connsiteY3" fmla="*/ 3629025 h 3629025"/>
              <a:gd name="connsiteX4" fmla="*/ 76200 w 9220200"/>
              <a:gd name="connsiteY4" fmla="*/ 3200400 h 3629025"/>
              <a:gd name="connsiteX5" fmla="*/ 0 w 9220200"/>
              <a:gd name="connsiteY5" fmla="*/ 0 h 3629025"/>
              <a:gd name="connsiteX0" fmla="*/ 0 w 9220200"/>
              <a:gd name="connsiteY0" fmla="*/ 0 h 3638550"/>
              <a:gd name="connsiteX1" fmla="*/ 9220200 w 9220200"/>
              <a:gd name="connsiteY1" fmla="*/ 0 h 3638550"/>
              <a:gd name="connsiteX2" fmla="*/ 9220200 w 9220200"/>
              <a:gd name="connsiteY2" fmla="*/ 3629025 h 3638550"/>
              <a:gd name="connsiteX3" fmla="*/ 971550 w 9220200"/>
              <a:gd name="connsiteY3" fmla="*/ 3638550 h 3638550"/>
              <a:gd name="connsiteX4" fmla="*/ 76200 w 9220200"/>
              <a:gd name="connsiteY4" fmla="*/ 3200400 h 3638550"/>
              <a:gd name="connsiteX5" fmla="*/ 0 w 9220200"/>
              <a:gd name="connsiteY5" fmla="*/ 0 h 3638550"/>
              <a:gd name="connsiteX0" fmla="*/ 0 w 9220200"/>
              <a:gd name="connsiteY0" fmla="*/ 0 h 3648075"/>
              <a:gd name="connsiteX1" fmla="*/ 9220200 w 9220200"/>
              <a:gd name="connsiteY1" fmla="*/ 0 h 3648075"/>
              <a:gd name="connsiteX2" fmla="*/ 9220200 w 9220200"/>
              <a:gd name="connsiteY2" fmla="*/ 3629025 h 3648075"/>
              <a:gd name="connsiteX3" fmla="*/ 166687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76200 w 9220200"/>
              <a:gd name="connsiteY4" fmla="*/ 32004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57150 w 9220200"/>
              <a:gd name="connsiteY4" fmla="*/ 2514600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1457325 w 9220200"/>
              <a:gd name="connsiteY3" fmla="*/ 3648075 h 3648075"/>
              <a:gd name="connsiteX4" fmla="*/ 38100 w 9220200"/>
              <a:gd name="connsiteY4" fmla="*/ 2962275 h 3648075"/>
              <a:gd name="connsiteX5" fmla="*/ 0 w 9220200"/>
              <a:gd name="connsiteY5" fmla="*/ 0 h 3648075"/>
              <a:gd name="connsiteX0" fmla="*/ 0 w 9220200"/>
              <a:gd name="connsiteY0" fmla="*/ 0 h 3648075"/>
              <a:gd name="connsiteX1" fmla="*/ 9220200 w 9220200"/>
              <a:gd name="connsiteY1" fmla="*/ 0 h 3648075"/>
              <a:gd name="connsiteX2" fmla="*/ 9220200 w 9220200"/>
              <a:gd name="connsiteY2" fmla="*/ 36290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0200"/>
              <a:gd name="connsiteY0" fmla="*/ 0 h 3648075"/>
              <a:gd name="connsiteX1" fmla="*/ 9220200 w 9220200"/>
              <a:gd name="connsiteY1" fmla="*/ 0 h 3648075"/>
              <a:gd name="connsiteX2" fmla="*/ 9220200 w 9220200"/>
              <a:gd name="connsiteY2" fmla="*/ 2638425 h 3648075"/>
              <a:gd name="connsiteX3" fmla="*/ 8848725 w 9220200"/>
              <a:gd name="connsiteY3" fmla="*/ 3629024 h 3648075"/>
              <a:gd name="connsiteX4" fmla="*/ 1457325 w 9220200"/>
              <a:gd name="connsiteY4" fmla="*/ 3648075 h 3648075"/>
              <a:gd name="connsiteX5" fmla="*/ 38100 w 9220200"/>
              <a:gd name="connsiteY5" fmla="*/ 2962275 h 3648075"/>
              <a:gd name="connsiteX6" fmla="*/ 0 w 9220200"/>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848725 w 9229725"/>
              <a:gd name="connsiteY3" fmla="*/ 362902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80962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58125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600950 w 9229725"/>
              <a:gd name="connsiteY3" fmla="*/ 3638549 h 3648075"/>
              <a:gd name="connsiteX4" fmla="*/ 1457325 w 9229725"/>
              <a:gd name="connsiteY4" fmla="*/ 3648075 h 3648075"/>
              <a:gd name="connsiteX5" fmla="*/ 38100 w 9229725"/>
              <a:gd name="connsiteY5" fmla="*/ 2962275 h 3648075"/>
              <a:gd name="connsiteX6" fmla="*/ 0 w 9229725"/>
              <a:gd name="connsiteY6" fmla="*/ 0 h 3648075"/>
              <a:gd name="connsiteX0" fmla="*/ 0 w 9229725"/>
              <a:gd name="connsiteY0" fmla="*/ 0 h 3648075"/>
              <a:gd name="connsiteX1" fmla="*/ 9220200 w 9229725"/>
              <a:gd name="connsiteY1" fmla="*/ 0 h 3648075"/>
              <a:gd name="connsiteX2" fmla="*/ 9229725 w 9229725"/>
              <a:gd name="connsiteY2" fmla="*/ 2981325 h 3648075"/>
              <a:gd name="connsiteX3" fmla="*/ 7886700 w 9229725"/>
              <a:gd name="connsiteY3" fmla="*/ 3648074 h 3648075"/>
              <a:gd name="connsiteX4" fmla="*/ 1457325 w 9229725"/>
              <a:gd name="connsiteY4" fmla="*/ 3648075 h 3648075"/>
              <a:gd name="connsiteX5" fmla="*/ 38100 w 9229725"/>
              <a:gd name="connsiteY5" fmla="*/ 2962275 h 3648075"/>
              <a:gd name="connsiteX6" fmla="*/ 0 w 9229725"/>
              <a:gd name="connsiteY6" fmla="*/ 0 h 3648075"/>
              <a:gd name="connsiteX0" fmla="*/ 0 w 9247142"/>
              <a:gd name="connsiteY0" fmla="*/ 287383 h 3648075"/>
              <a:gd name="connsiteX1" fmla="*/ 9237617 w 9247142"/>
              <a:gd name="connsiteY1" fmla="*/ 0 h 3648075"/>
              <a:gd name="connsiteX2" fmla="*/ 9247142 w 9247142"/>
              <a:gd name="connsiteY2" fmla="*/ 2981325 h 3648075"/>
              <a:gd name="connsiteX3" fmla="*/ 7904117 w 9247142"/>
              <a:gd name="connsiteY3" fmla="*/ 3648074 h 3648075"/>
              <a:gd name="connsiteX4" fmla="*/ 1474742 w 9247142"/>
              <a:gd name="connsiteY4" fmla="*/ 3648075 h 3648075"/>
              <a:gd name="connsiteX5" fmla="*/ 55517 w 9247142"/>
              <a:gd name="connsiteY5" fmla="*/ 2962275 h 3648075"/>
              <a:gd name="connsiteX6" fmla="*/ 0 w 9247142"/>
              <a:gd name="connsiteY6" fmla="*/ 287383 h 3648075"/>
              <a:gd name="connsiteX0" fmla="*/ 0 w 9289868"/>
              <a:gd name="connsiteY0" fmla="*/ 26126 h 3386818"/>
              <a:gd name="connsiteX1" fmla="*/ 9289868 w 9289868"/>
              <a:gd name="connsiteY1" fmla="*/ 0 h 3386818"/>
              <a:gd name="connsiteX2" fmla="*/ 9247142 w 9289868"/>
              <a:gd name="connsiteY2" fmla="*/ 2720068 h 3386818"/>
              <a:gd name="connsiteX3" fmla="*/ 7904117 w 9289868"/>
              <a:gd name="connsiteY3" fmla="*/ 3386817 h 3386818"/>
              <a:gd name="connsiteX4" fmla="*/ 1474742 w 9289868"/>
              <a:gd name="connsiteY4" fmla="*/ 3386818 h 3386818"/>
              <a:gd name="connsiteX5" fmla="*/ 55517 w 9289868"/>
              <a:gd name="connsiteY5" fmla="*/ 2701018 h 3386818"/>
              <a:gd name="connsiteX6" fmla="*/ 0 w 9289868"/>
              <a:gd name="connsiteY6" fmla="*/ 26126 h 338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9868" h="3386818">
                <a:moveTo>
                  <a:pt x="0" y="26126"/>
                </a:moveTo>
                <a:lnTo>
                  <a:pt x="9289868" y="0"/>
                </a:lnTo>
                <a:lnTo>
                  <a:pt x="9247142" y="2720068"/>
                </a:lnTo>
                <a:lnTo>
                  <a:pt x="7904117" y="3386817"/>
                </a:lnTo>
                <a:lnTo>
                  <a:pt x="1474742" y="3386818"/>
                </a:lnTo>
                <a:lnTo>
                  <a:pt x="55517" y="2701018"/>
                </a:lnTo>
                <a:lnTo>
                  <a:pt x="0" y="26126"/>
                </a:lnTo>
                <a:close/>
              </a:path>
            </a:pathLst>
          </a:custGeom>
          <a:gradFill>
            <a:gsLst>
              <a:gs pos="0">
                <a:schemeClr val="bg2">
                  <a:lumMod val="75000"/>
                  <a:alpha val="50000"/>
                </a:schemeClr>
              </a:gs>
              <a:gs pos="52000">
                <a:schemeClr val="tx1">
                  <a:lumMod val="50000"/>
                  <a:lumOff val="50000"/>
                  <a:alpha val="50000"/>
                </a:schemeClr>
              </a:gs>
              <a:gs pos="100000">
                <a:schemeClr val="bg2">
                  <a:lumMod val="75000"/>
                  <a:alpha val="50000"/>
                </a:schemeClr>
              </a:gs>
            </a:gsLst>
            <a:lin ang="5400000" scaled="0"/>
          </a:gra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tx2"/>
              </a:solidFill>
              <a:effectLst>
                <a:outerShdw blurRad="38100" dist="38100" dir="2700000" algn="tl">
                  <a:srgbClr val="000000">
                    <a:alpha val="43137"/>
                  </a:srgbClr>
                </a:outerShdw>
              </a:effectLst>
              <a:latin typeface="Segoe" pitchFamily="34" charset="0"/>
            </a:endParaRPr>
          </a:p>
        </p:txBody>
      </p:sp>
      <p:sp>
        <p:nvSpPr>
          <p:cNvPr id="115" name="Freeform 6"/>
          <p:cNvSpPr>
            <a:spLocks/>
          </p:cNvSpPr>
          <p:nvPr/>
        </p:nvSpPr>
        <p:spPr bwMode="auto">
          <a:xfrm>
            <a:off x="-16929" y="863731"/>
            <a:ext cx="12205754" cy="2229403"/>
          </a:xfrm>
          <a:custGeom>
            <a:avLst/>
            <a:gdLst/>
            <a:ahLst/>
            <a:cxnLst>
              <a:cxn ang="0">
                <a:pos x="17" y="2049"/>
              </a:cxn>
              <a:cxn ang="0">
                <a:pos x="262" y="1872"/>
              </a:cxn>
              <a:cxn ang="0">
                <a:pos x="485" y="1731"/>
              </a:cxn>
              <a:cxn ang="0">
                <a:pos x="768" y="1568"/>
              </a:cxn>
              <a:cxn ang="0">
                <a:pos x="1107" y="1398"/>
              </a:cxn>
              <a:cxn ang="0">
                <a:pos x="1496" y="1231"/>
              </a:cxn>
              <a:cxn ang="0">
                <a:pos x="1931" y="1082"/>
              </a:cxn>
              <a:cxn ang="0">
                <a:pos x="2243" y="996"/>
              </a:cxn>
              <a:cxn ang="0">
                <a:pos x="2488" y="942"/>
              </a:cxn>
              <a:cxn ang="0">
                <a:pos x="2743" y="900"/>
              </a:cxn>
              <a:cxn ang="0">
                <a:pos x="3005" y="869"/>
              </a:cxn>
              <a:cxn ang="0">
                <a:pos x="3275" y="850"/>
              </a:cxn>
              <a:cxn ang="0">
                <a:pos x="3459" y="846"/>
              </a:cxn>
              <a:cxn ang="0">
                <a:pos x="3733" y="856"/>
              </a:cxn>
              <a:cxn ang="0">
                <a:pos x="4001" y="877"/>
              </a:cxn>
              <a:cxn ang="0">
                <a:pos x="4259" y="911"/>
              </a:cxn>
              <a:cxn ang="0">
                <a:pos x="4512" y="959"/>
              </a:cxn>
              <a:cxn ang="0">
                <a:pos x="4754" y="1015"/>
              </a:cxn>
              <a:cxn ang="0">
                <a:pos x="5135" y="1126"/>
              </a:cxn>
              <a:cxn ang="0">
                <a:pos x="5554" y="1281"/>
              </a:cxn>
              <a:cxn ang="0">
                <a:pos x="5928" y="1449"/>
              </a:cxn>
              <a:cxn ang="0">
                <a:pos x="6246" y="1616"/>
              </a:cxn>
              <a:cxn ang="0">
                <a:pos x="6510" y="1771"/>
              </a:cxn>
              <a:cxn ang="0">
                <a:pos x="6763" y="1939"/>
              </a:cxn>
              <a:cxn ang="0">
                <a:pos x="6912" y="2051"/>
              </a:cxn>
              <a:cxn ang="0">
                <a:pos x="6845" y="810"/>
              </a:cxn>
              <a:cxn ang="0">
                <a:pos x="6510" y="651"/>
              </a:cxn>
              <a:cxn ang="0">
                <a:pos x="6246" y="542"/>
              </a:cxn>
              <a:cxn ang="0">
                <a:pos x="5928" y="423"/>
              </a:cxn>
              <a:cxn ang="0">
                <a:pos x="5554" y="306"/>
              </a:cxn>
              <a:cxn ang="0">
                <a:pos x="5135" y="197"/>
              </a:cxn>
              <a:cxn ang="0">
                <a:pos x="4673" y="103"/>
              </a:cxn>
              <a:cxn ang="0">
                <a:pos x="4175" y="36"/>
              </a:cxn>
              <a:cxn ang="0">
                <a:pos x="3733" y="6"/>
              </a:cxn>
              <a:cxn ang="0">
                <a:pos x="3459" y="0"/>
              </a:cxn>
              <a:cxn ang="0">
                <a:pos x="3275" y="2"/>
              </a:cxn>
              <a:cxn ang="0">
                <a:pos x="2917" y="21"/>
              </a:cxn>
              <a:cxn ang="0">
                <a:pos x="2406" y="78"/>
              </a:cxn>
              <a:cxn ang="0">
                <a:pos x="1931" y="163"/>
              </a:cxn>
              <a:cxn ang="0">
                <a:pos x="1496" y="268"/>
              </a:cxn>
              <a:cxn ang="0">
                <a:pos x="1107" y="385"/>
              </a:cxn>
              <a:cxn ang="0">
                <a:pos x="768" y="504"/>
              </a:cxn>
              <a:cxn ang="0">
                <a:pos x="485" y="616"/>
              </a:cxn>
              <a:cxn ang="0">
                <a:pos x="149" y="770"/>
              </a:cxn>
              <a:cxn ang="0">
                <a:pos x="0" y="2062"/>
              </a:cxn>
            </a:cxnLst>
            <a:rect l="0" t="0" r="r" b="b"/>
            <a:pathLst>
              <a:path w="6912" h="2062">
                <a:moveTo>
                  <a:pt x="0" y="2062"/>
                </a:moveTo>
                <a:lnTo>
                  <a:pt x="0" y="2062"/>
                </a:lnTo>
                <a:lnTo>
                  <a:pt x="17" y="2049"/>
                </a:lnTo>
                <a:lnTo>
                  <a:pt x="67" y="2010"/>
                </a:lnTo>
                <a:lnTo>
                  <a:pt x="149" y="1949"/>
                </a:lnTo>
                <a:lnTo>
                  <a:pt x="262" y="1872"/>
                </a:lnTo>
                <a:lnTo>
                  <a:pt x="329" y="1828"/>
                </a:lnTo>
                <a:lnTo>
                  <a:pt x="404" y="1781"/>
                </a:lnTo>
                <a:lnTo>
                  <a:pt x="485" y="1731"/>
                </a:lnTo>
                <a:lnTo>
                  <a:pt x="573" y="1677"/>
                </a:lnTo>
                <a:lnTo>
                  <a:pt x="668" y="1624"/>
                </a:lnTo>
                <a:lnTo>
                  <a:pt x="768" y="1568"/>
                </a:lnTo>
                <a:lnTo>
                  <a:pt x="875" y="1511"/>
                </a:lnTo>
                <a:lnTo>
                  <a:pt x="988" y="1455"/>
                </a:lnTo>
                <a:lnTo>
                  <a:pt x="1107" y="1398"/>
                </a:lnTo>
                <a:lnTo>
                  <a:pt x="1231" y="1342"/>
                </a:lnTo>
                <a:lnTo>
                  <a:pt x="1362" y="1287"/>
                </a:lnTo>
                <a:lnTo>
                  <a:pt x="1496" y="1231"/>
                </a:lnTo>
                <a:lnTo>
                  <a:pt x="1636" y="1179"/>
                </a:lnTo>
                <a:lnTo>
                  <a:pt x="1781" y="1130"/>
                </a:lnTo>
                <a:lnTo>
                  <a:pt x="1931" y="1082"/>
                </a:lnTo>
                <a:lnTo>
                  <a:pt x="2084" y="1038"/>
                </a:lnTo>
                <a:lnTo>
                  <a:pt x="2164" y="1017"/>
                </a:lnTo>
                <a:lnTo>
                  <a:pt x="2243" y="996"/>
                </a:lnTo>
                <a:lnTo>
                  <a:pt x="2323" y="976"/>
                </a:lnTo>
                <a:lnTo>
                  <a:pt x="2406" y="959"/>
                </a:lnTo>
                <a:lnTo>
                  <a:pt x="2488" y="942"/>
                </a:lnTo>
                <a:lnTo>
                  <a:pt x="2572" y="927"/>
                </a:lnTo>
                <a:lnTo>
                  <a:pt x="2656" y="913"/>
                </a:lnTo>
                <a:lnTo>
                  <a:pt x="2743" y="900"/>
                </a:lnTo>
                <a:lnTo>
                  <a:pt x="2829" y="888"/>
                </a:lnTo>
                <a:lnTo>
                  <a:pt x="2917" y="877"/>
                </a:lnTo>
                <a:lnTo>
                  <a:pt x="3005" y="869"/>
                </a:lnTo>
                <a:lnTo>
                  <a:pt x="3095" y="862"/>
                </a:lnTo>
                <a:lnTo>
                  <a:pt x="3185" y="856"/>
                </a:lnTo>
                <a:lnTo>
                  <a:pt x="3275" y="850"/>
                </a:lnTo>
                <a:lnTo>
                  <a:pt x="3367" y="848"/>
                </a:lnTo>
                <a:lnTo>
                  <a:pt x="3459" y="846"/>
                </a:lnTo>
                <a:lnTo>
                  <a:pt x="3459" y="846"/>
                </a:lnTo>
                <a:lnTo>
                  <a:pt x="3551" y="848"/>
                </a:lnTo>
                <a:lnTo>
                  <a:pt x="3643" y="850"/>
                </a:lnTo>
                <a:lnTo>
                  <a:pt x="3733" y="856"/>
                </a:lnTo>
                <a:lnTo>
                  <a:pt x="3823" y="862"/>
                </a:lnTo>
                <a:lnTo>
                  <a:pt x="3913" y="867"/>
                </a:lnTo>
                <a:lnTo>
                  <a:pt x="4001" y="877"/>
                </a:lnTo>
                <a:lnTo>
                  <a:pt x="4089" y="886"/>
                </a:lnTo>
                <a:lnTo>
                  <a:pt x="4175" y="900"/>
                </a:lnTo>
                <a:lnTo>
                  <a:pt x="4259" y="911"/>
                </a:lnTo>
                <a:lnTo>
                  <a:pt x="4346" y="927"/>
                </a:lnTo>
                <a:lnTo>
                  <a:pt x="4428" y="942"/>
                </a:lnTo>
                <a:lnTo>
                  <a:pt x="4512" y="959"/>
                </a:lnTo>
                <a:lnTo>
                  <a:pt x="4593" y="976"/>
                </a:lnTo>
                <a:lnTo>
                  <a:pt x="4673" y="996"/>
                </a:lnTo>
                <a:lnTo>
                  <a:pt x="4754" y="1015"/>
                </a:lnTo>
                <a:lnTo>
                  <a:pt x="4832" y="1036"/>
                </a:lnTo>
                <a:lnTo>
                  <a:pt x="4985" y="1080"/>
                </a:lnTo>
                <a:lnTo>
                  <a:pt x="5135" y="1126"/>
                </a:lnTo>
                <a:lnTo>
                  <a:pt x="5280" y="1176"/>
                </a:lnTo>
                <a:lnTo>
                  <a:pt x="5420" y="1227"/>
                </a:lnTo>
                <a:lnTo>
                  <a:pt x="5554" y="1281"/>
                </a:lnTo>
                <a:lnTo>
                  <a:pt x="5684" y="1336"/>
                </a:lnTo>
                <a:lnTo>
                  <a:pt x="5809" y="1392"/>
                </a:lnTo>
                <a:lnTo>
                  <a:pt x="5928" y="1449"/>
                </a:lnTo>
                <a:lnTo>
                  <a:pt x="6039" y="1505"/>
                </a:lnTo>
                <a:lnTo>
                  <a:pt x="6146" y="1560"/>
                </a:lnTo>
                <a:lnTo>
                  <a:pt x="6246" y="1616"/>
                </a:lnTo>
                <a:lnTo>
                  <a:pt x="6341" y="1670"/>
                </a:lnTo>
                <a:lnTo>
                  <a:pt x="6427" y="1721"/>
                </a:lnTo>
                <a:lnTo>
                  <a:pt x="6510" y="1771"/>
                </a:lnTo>
                <a:lnTo>
                  <a:pt x="6583" y="1819"/>
                </a:lnTo>
                <a:lnTo>
                  <a:pt x="6650" y="1863"/>
                </a:lnTo>
                <a:lnTo>
                  <a:pt x="6763" y="1939"/>
                </a:lnTo>
                <a:lnTo>
                  <a:pt x="6845" y="1999"/>
                </a:lnTo>
                <a:lnTo>
                  <a:pt x="6895" y="2037"/>
                </a:lnTo>
                <a:lnTo>
                  <a:pt x="6912" y="2051"/>
                </a:lnTo>
                <a:lnTo>
                  <a:pt x="6912" y="846"/>
                </a:lnTo>
                <a:lnTo>
                  <a:pt x="6912" y="846"/>
                </a:lnTo>
                <a:lnTo>
                  <a:pt x="6845" y="810"/>
                </a:lnTo>
                <a:lnTo>
                  <a:pt x="6763" y="770"/>
                </a:lnTo>
                <a:lnTo>
                  <a:pt x="6650" y="714"/>
                </a:lnTo>
                <a:lnTo>
                  <a:pt x="6510" y="651"/>
                </a:lnTo>
                <a:lnTo>
                  <a:pt x="6427" y="616"/>
                </a:lnTo>
                <a:lnTo>
                  <a:pt x="6341" y="578"/>
                </a:lnTo>
                <a:lnTo>
                  <a:pt x="6246" y="542"/>
                </a:lnTo>
                <a:lnTo>
                  <a:pt x="6146" y="504"/>
                </a:lnTo>
                <a:lnTo>
                  <a:pt x="6039" y="463"/>
                </a:lnTo>
                <a:lnTo>
                  <a:pt x="5928" y="423"/>
                </a:lnTo>
                <a:lnTo>
                  <a:pt x="5809" y="385"/>
                </a:lnTo>
                <a:lnTo>
                  <a:pt x="5684" y="345"/>
                </a:lnTo>
                <a:lnTo>
                  <a:pt x="5554" y="306"/>
                </a:lnTo>
                <a:lnTo>
                  <a:pt x="5420" y="268"/>
                </a:lnTo>
                <a:lnTo>
                  <a:pt x="5280" y="232"/>
                </a:lnTo>
                <a:lnTo>
                  <a:pt x="5135" y="197"/>
                </a:lnTo>
                <a:lnTo>
                  <a:pt x="4985" y="163"/>
                </a:lnTo>
                <a:lnTo>
                  <a:pt x="4832" y="132"/>
                </a:lnTo>
                <a:lnTo>
                  <a:pt x="4673" y="103"/>
                </a:lnTo>
                <a:lnTo>
                  <a:pt x="4512" y="78"/>
                </a:lnTo>
                <a:lnTo>
                  <a:pt x="4346" y="56"/>
                </a:lnTo>
                <a:lnTo>
                  <a:pt x="4175" y="36"/>
                </a:lnTo>
                <a:lnTo>
                  <a:pt x="4001" y="21"/>
                </a:lnTo>
                <a:lnTo>
                  <a:pt x="3823" y="10"/>
                </a:lnTo>
                <a:lnTo>
                  <a:pt x="3733" y="6"/>
                </a:lnTo>
                <a:lnTo>
                  <a:pt x="3643" y="2"/>
                </a:lnTo>
                <a:lnTo>
                  <a:pt x="3551" y="0"/>
                </a:lnTo>
                <a:lnTo>
                  <a:pt x="3459" y="0"/>
                </a:lnTo>
                <a:lnTo>
                  <a:pt x="3459" y="0"/>
                </a:lnTo>
                <a:lnTo>
                  <a:pt x="3367" y="0"/>
                </a:lnTo>
                <a:lnTo>
                  <a:pt x="3275" y="2"/>
                </a:lnTo>
                <a:lnTo>
                  <a:pt x="3185" y="6"/>
                </a:lnTo>
                <a:lnTo>
                  <a:pt x="3095" y="10"/>
                </a:lnTo>
                <a:lnTo>
                  <a:pt x="2917" y="21"/>
                </a:lnTo>
                <a:lnTo>
                  <a:pt x="2743" y="36"/>
                </a:lnTo>
                <a:lnTo>
                  <a:pt x="2572" y="56"/>
                </a:lnTo>
                <a:lnTo>
                  <a:pt x="2406" y="78"/>
                </a:lnTo>
                <a:lnTo>
                  <a:pt x="2243" y="103"/>
                </a:lnTo>
                <a:lnTo>
                  <a:pt x="2084" y="132"/>
                </a:lnTo>
                <a:lnTo>
                  <a:pt x="1931" y="163"/>
                </a:lnTo>
                <a:lnTo>
                  <a:pt x="1781" y="197"/>
                </a:lnTo>
                <a:lnTo>
                  <a:pt x="1636" y="232"/>
                </a:lnTo>
                <a:lnTo>
                  <a:pt x="1496" y="268"/>
                </a:lnTo>
                <a:lnTo>
                  <a:pt x="1362" y="306"/>
                </a:lnTo>
                <a:lnTo>
                  <a:pt x="1231" y="345"/>
                </a:lnTo>
                <a:lnTo>
                  <a:pt x="1107" y="385"/>
                </a:lnTo>
                <a:lnTo>
                  <a:pt x="988" y="423"/>
                </a:lnTo>
                <a:lnTo>
                  <a:pt x="875" y="463"/>
                </a:lnTo>
                <a:lnTo>
                  <a:pt x="768" y="504"/>
                </a:lnTo>
                <a:lnTo>
                  <a:pt x="668" y="542"/>
                </a:lnTo>
                <a:lnTo>
                  <a:pt x="573" y="578"/>
                </a:lnTo>
                <a:lnTo>
                  <a:pt x="485" y="616"/>
                </a:lnTo>
                <a:lnTo>
                  <a:pt x="404" y="651"/>
                </a:lnTo>
                <a:lnTo>
                  <a:pt x="262" y="714"/>
                </a:lnTo>
                <a:lnTo>
                  <a:pt x="149" y="770"/>
                </a:lnTo>
                <a:lnTo>
                  <a:pt x="67" y="810"/>
                </a:lnTo>
                <a:lnTo>
                  <a:pt x="0" y="846"/>
                </a:lnTo>
                <a:lnTo>
                  <a:pt x="0" y="2062"/>
                </a:lnTo>
                <a:close/>
              </a:path>
            </a:pathLst>
          </a:custGeom>
          <a:gradFill flip="none" rotWithShape="1">
            <a:gsLst>
              <a:gs pos="0">
                <a:schemeClr val="bg2">
                  <a:lumMod val="75000"/>
                </a:schemeClr>
              </a:gs>
              <a:gs pos="52000">
                <a:schemeClr val="tx1">
                  <a:lumMod val="50000"/>
                  <a:lumOff val="50000"/>
                </a:schemeClr>
              </a:gs>
              <a:gs pos="100000">
                <a:schemeClr val="bg2">
                  <a:lumMod val="75000"/>
                </a:schemeClr>
              </a:gs>
            </a:gsLst>
            <a:lin ang="3600000" scaled="0"/>
            <a:tileRect/>
          </a:gradFill>
          <a:ln w="12700" cap="flat" cmpd="sng" algn="ctr">
            <a:noFill/>
            <a:prstDash val="solid"/>
            <a:round/>
            <a:headEnd type="none" w="med" len="med"/>
            <a:tailEnd type="none" w="med" len="med"/>
          </a:ln>
          <a:effectLst/>
        </p:spPr>
        <p:txBody>
          <a:bodyPr vert="horz" wrap="square" lIns="45710" tIns="45710" rIns="54852" bIns="41145" numCol="1" rtlCol="0" anchor="ctr" anchorCtr="1" compatLnSpc="1">
            <a:prstTxWarp prst="textNoShape">
              <a:avLst/>
            </a:prstTxWarp>
          </a:bodyPr>
          <a:lstStyle/>
          <a:p>
            <a:pPr marL="227147" indent="-227147" algn="ctr" defTabSz="914159">
              <a:lnSpc>
                <a:spcPct val="90000"/>
              </a:lnSpc>
              <a:spcBef>
                <a:spcPts val="630"/>
              </a:spcBef>
              <a:buClr>
                <a:srgbClr val="FFFF99"/>
              </a:buClr>
              <a:buSzPct val="120000"/>
              <a:defRPr/>
            </a:pPr>
            <a:endParaRPr lang="en-US" altLang="zh-CN" sz="3200" i="1" dirty="0" smtClean="0">
              <a:solidFill>
                <a:srgbClr val="FFFFFF"/>
              </a:solidFill>
              <a:latin typeface="Segoe" pitchFamily="34" charset="0"/>
            </a:endParaRPr>
          </a:p>
        </p:txBody>
      </p:sp>
      <p:sp>
        <p:nvSpPr>
          <p:cNvPr id="116" name="Rectangle 115"/>
          <p:cNvSpPr/>
          <p:nvPr/>
        </p:nvSpPr>
        <p:spPr>
          <a:xfrm>
            <a:off x="743993" y="3083824"/>
            <a:ext cx="2811081" cy="605294"/>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Sophisticated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Design Environment</a:t>
            </a:r>
          </a:p>
        </p:txBody>
      </p:sp>
      <p:pic>
        <p:nvPicPr>
          <p:cNvPr id="117" name="Picture 2" descr="\\eventsql\dvd\Online_ART\DVD_ART36\Artwork_Imagery\Brand Photos\Scenarios\FY09 Office Brand - No_exp\women man meeting working talking lap top.png"/>
          <p:cNvPicPr>
            <a:picLocks noChangeAspect="1" noChangeArrowheads="1"/>
          </p:cNvPicPr>
          <p:nvPr/>
        </p:nvPicPr>
        <p:blipFill>
          <a:blip r:embed="rId5" cstate="print"/>
          <a:srcRect/>
          <a:stretch>
            <a:fillRect/>
          </a:stretch>
        </p:blipFill>
        <p:spPr bwMode="auto">
          <a:xfrm>
            <a:off x="3787138" y="892675"/>
            <a:ext cx="4614551" cy="2180943"/>
          </a:xfrm>
          <a:prstGeom prst="rect">
            <a:avLst/>
          </a:prstGeom>
          <a:noFill/>
        </p:spPr>
      </p:pic>
      <p:sp>
        <p:nvSpPr>
          <p:cNvPr id="118" name="Rectangle 117"/>
          <p:cNvSpPr/>
          <p:nvPr/>
        </p:nvSpPr>
        <p:spPr>
          <a:xfrm>
            <a:off x="5642416" y="3808386"/>
            <a:ext cx="100213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use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of insights</a:t>
            </a:r>
          </a:p>
        </p:txBody>
      </p:sp>
      <p:grpSp>
        <p:nvGrpSpPr>
          <p:cNvPr id="152" name="Group 151"/>
          <p:cNvGrpSpPr/>
          <p:nvPr/>
        </p:nvGrpSpPr>
        <p:grpSpPr>
          <a:xfrm>
            <a:off x="247897" y="1663121"/>
            <a:ext cx="2680507" cy="1444574"/>
            <a:chOff x="256874" y="1164713"/>
            <a:chExt cx="2681059" cy="1925994"/>
          </a:xfrm>
          <a:effectLst>
            <a:outerShdw blurRad="50800" dist="50800" dir="5400000" algn="ctr" rotWithShape="0">
              <a:srgbClr val="000000">
                <a:alpha val="50000"/>
              </a:srgbClr>
            </a:outerShdw>
          </a:effectLst>
        </p:grpSpPr>
        <p:pic>
          <p:nvPicPr>
            <p:cNvPr id="121" name="Picture 2" descr="\\eventsql\dvd\Online_ART\DVD_ART36\Artwork_Imagery\Brand Photos\Scenarios\FY08 Brand - Business - No_exp\Man IT Pro smiling IT servers  clean room posed hallways.png"/>
            <p:cNvPicPr>
              <a:picLocks noChangeAspect="1" noChangeArrowheads="1"/>
            </p:cNvPicPr>
            <p:nvPr/>
          </p:nvPicPr>
          <p:blipFill>
            <a:blip r:embed="rId6" cstate="print"/>
            <a:srcRect/>
            <a:stretch>
              <a:fillRect/>
            </a:stretch>
          </p:blipFill>
          <p:spPr bwMode="auto">
            <a:xfrm flipH="1">
              <a:off x="1428728" y="1164713"/>
              <a:ext cx="1509205" cy="1925994"/>
            </a:xfrm>
            <a:prstGeom prst="rect">
              <a:avLst/>
            </a:prstGeom>
            <a:noFill/>
          </p:spPr>
        </p:pic>
        <p:pic>
          <p:nvPicPr>
            <p:cNvPr id="122" name="Picture 2" descr="\\eventsql\dvd\Online_ART\DVD_ART36\Artwork_Imagery\Brand Photos\Scenarios\FY08 Brand - Mobility - No_exp\man standing working indoors laptop business.png"/>
            <p:cNvPicPr>
              <a:picLocks noChangeAspect="1" noChangeArrowheads="1"/>
            </p:cNvPicPr>
            <p:nvPr/>
          </p:nvPicPr>
          <p:blipFill>
            <a:blip r:embed="rId7" cstate="print"/>
            <a:srcRect/>
            <a:stretch>
              <a:fillRect/>
            </a:stretch>
          </p:blipFill>
          <p:spPr bwMode="auto">
            <a:xfrm>
              <a:off x="256874" y="1330584"/>
              <a:ext cx="1677882" cy="1670197"/>
            </a:xfrm>
            <a:prstGeom prst="rect">
              <a:avLst/>
            </a:prstGeom>
            <a:ln>
              <a:noFill/>
            </a:ln>
            <a:effectLst>
              <a:reflection stA="50000" endPos="65000" dist="50800" dir="5400000" sy="-100000" algn="bl" rotWithShape="0"/>
              <a:softEdge rad="112500"/>
            </a:effectLst>
          </p:spPr>
        </p:pic>
      </p:grpSp>
      <p:sp>
        <p:nvSpPr>
          <p:cNvPr id="133" name="Rounded Rectangle 132"/>
          <p:cNvSpPr/>
          <p:nvPr/>
        </p:nvSpPr>
        <p:spPr bwMode="auto">
          <a:xfrm>
            <a:off x="2291911" y="5415035"/>
            <a:ext cx="2147558" cy="31568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10" tIns="45710" rIns="54852" bIns="41145" numCol="1" rtlCol="0" anchor="ctr" anchorCtr="1" compatLnSpc="1">
            <a:prstTxWarp prst="textNoShape">
              <a:avLst/>
            </a:prstTxWarp>
          </a:bodyPr>
          <a:lstStyle/>
          <a:p>
            <a:pPr marL="227147" indent="-227147" algn="ctr" defTabSz="914159" fontAlgn="base">
              <a:lnSpc>
                <a:spcPct val="90000"/>
              </a:lnSpc>
              <a:spcBef>
                <a:spcPts val="630"/>
              </a:spcBef>
              <a:spcAft>
                <a:spcPct val="0"/>
              </a:spcAft>
              <a:buClr>
                <a:srgbClr val="FFFF99"/>
              </a:buClr>
              <a:buSzPct val="120000"/>
              <a:defRPr/>
            </a:pPr>
            <a:endParaRPr lang="en-US" altLang="zh-CN" sz="3200" i="1" dirty="0" smtClean="0">
              <a:solidFill>
                <a:schemeClr val="bg1"/>
              </a:solidFill>
              <a:latin typeface="Segoe" pitchFamily="34" charset="0"/>
            </a:endParaRPr>
          </a:p>
        </p:txBody>
      </p:sp>
      <p:sp>
        <p:nvSpPr>
          <p:cNvPr id="134" name="Rectangle 133"/>
          <p:cNvSpPr/>
          <p:nvPr/>
        </p:nvSpPr>
        <p:spPr>
          <a:xfrm>
            <a:off x="2139747" y="5352416"/>
            <a:ext cx="2451888" cy="400110"/>
          </a:xfrm>
          <a:prstGeom prst="rect">
            <a:avLst/>
          </a:prstGeom>
          <a:grpFill/>
          <a:ln w="6350" cap="flat" cmpd="sng" algn="ctr">
            <a:noFill/>
            <a:prstDash val="solid"/>
            <a:round/>
            <a:headEnd type="none" w="med" len="med"/>
            <a:tailEnd type="none" w="med" len="med"/>
          </a:ln>
          <a:effectLst/>
        </p:spPr>
        <p:txBody>
          <a:bodyPr wrap="square">
            <a:spAutoFit/>
          </a:bodyPr>
          <a:lstStyle/>
          <a:p>
            <a:pPr marR="0" lvl="0" indent="0" algn="ctr" fontAlgn="base">
              <a:lnSpc>
                <a:spcPts val="2400"/>
              </a:lnSpc>
              <a:spcBef>
                <a:spcPts val="600"/>
              </a:spcBef>
              <a:spcAft>
                <a:spcPts val="800"/>
              </a:spcAft>
              <a:buClr>
                <a:schemeClr val="bg1"/>
              </a:buClr>
              <a:buSzPct val="100000"/>
              <a:buFontTx/>
              <a:buNone/>
              <a:tabLst/>
              <a:defRPr/>
            </a:pPr>
            <a:r>
              <a:rPr lang="en-US" altLang="zh-CN" sz="1600" dirty="0" smtClean="0">
                <a:latin typeface="Segoe UI" pitchFamily="34" charset="0"/>
                <a:ea typeface="Segoe UI" pitchFamily="34" charset="0"/>
                <a:cs typeface="Segoe UI" pitchFamily="34" charset="0"/>
                <a:sym typeface="Wingdings" pitchFamily="2" charset="2"/>
              </a:rPr>
              <a:t>Report Designer / SSRS</a:t>
            </a:r>
          </a:p>
        </p:txBody>
      </p:sp>
      <p:sp>
        <p:nvSpPr>
          <p:cNvPr id="135" name="Rounded Rectangle 134"/>
          <p:cNvSpPr/>
          <p:nvPr/>
        </p:nvSpPr>
        <p:spPr bwMode="auto">
          <a:xfrm>
            <a:off x="5020634" y="5369782"/>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Pivot</a:t>
            </a:r>
          </a:p>
        </p:txBody>
      </p:sp>
      <p:sp>
        <p:nvSpPr>
          <p:cNvPr id="170" name="Rectangle 169"/>
          <p:cNvSpPr/>
          <p:nvPr/>
        </p:nvSpPr>
        <p:spPr>
          <a:xfrm>
            <a:off x="1423495" y="3944788"/>
            <a:ext cx="3102610"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ort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ewer Controls</a:t>
            </a:r>
          </a:p>
        </p:txBody>
      </p:sp>
      <p:sp>
        <p:nvSpPr>
          <p:cNvPr id="171" name="Rectangle 170"/>
          <p:cNvSpPr/>
          <p:nvPr/>
        </p:nvSpPr>
        <p:spPr>
          <a:xfrm>
            <a:off x="2256311" y="4684024"/>
            <a:ext cx="2977288" cy="581826"/>
          </a:xfrm>
          <a:prstGeom prst="rect">
            <a:avLst/>
          </a:prstGeom>
        </p:spPr>
        <p:txBody>
          <a:bodyPr wrap="square">
            <a:spAutoFit/>
          </a:bodyPr>
          <a:lstStyle/>
          <a:p>
            <a:pP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Design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Capabilities</a:t>
            </a:r>
          </a:p>
        </p:txBody>
      </p:sp>
      <p:sp>
        <p:nvSpPr>
          <p:cNvPr id="172" name="Rectangle 171"/>
          <p:cNvSpPr/>
          <p:nvPr/>
        </p:nvSpPr>
        <p:spPr>
          <a:xfrm>
            <a:off x="5116236" y="3083824"/>
            <a:ext cx="2054492" cy="605294"/>
          </a:xfrm>
          <a:prstGeom prst="rect">
            <a:avLst/>
          </a:prstGeom>
        </p:spPr>
        <p:txBody>
          <a:bodyPr wrap="square">
            <a:spAutoFit/>
          </a:bodyPr>
          <a:lstStyle/>
          <a:p>
            <a:pPr algn="ctr">
              <a:lnSpc>
                <a:spcPts val="2000"/>
              </a:lnSpc>
              <a:spcBef>
                <a:spcPts val="600"/>
              </a:spcBef>
              <a:spcAft>
                <a:spcPts val="800"/>
              </a:spcAft>
              <a:buClr>
                <a:schemeClr val="bg1"/>
              </a:buClr>
              <a:buSzPct val="100000"/>
              <a:defRPr/>
            </a:pP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oductive</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Authoring</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3" name="Rectangle 172"/>
          <p:cNvSpPr/>
          <p:nvPr/>
        </p:nvSpPr>
        <p:spPr>
          <a:xfrm>
            <a:off x="5728947" y="4590890"/>
            <a:ext cx="829073" cy="581826"/>
          </a:xfrm>
          <a:prstGeom prst="rect">
            <a:avLst/>
          </a:prstGeom>
        </p:spPr>
        <p:txBody>
          <a:bodyPr wrap="none">
            <a:spAutoFit/>
          </a:bodyPr>
          <a:lstStyle/>
          <a:p>
            <a:pPr algn="ct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Flexible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layout</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4" name="Rectangle 173"/>
          <p:cNvSpPr/>
          <p:nvPr/>
        </p:nvSpPr>
        <p:spPr>
          <a:xfrm>
            <a:off x="8337935" y="3944788"/>
            <a:ext cx="2251767"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Highly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Interactive</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75" name="Rectangle 174"/>
          <p:cNvSpPr/>
          <p:nvPr/>
        </p:nvSpPr>
        <p:spPr>
          <a:xfrm>
            <a:off x="7880383" y="4668026"/>
            <a:ext cx="2078772"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ich </a:t>
            </a: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
            </a:r>
            <a:b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smtClean="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Presentation</a:t>
            </a:r>
            <a:endPar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endParaRPr>
          </a:p>
        </p:txBody>
      </p:sp>
      <p:sp>
        <p:nvSpPr>
          <p:cNvPr id="188" name="Rectangle 187"/>
          <p:cNvSpPr/>
          <p:nvPr/>
        </p:nvSpPr>
        <p:spPr>
          <a:xfrm rot="20573270">
            <a:off x="-73833" y="103548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Developers</a:t>
            </a:r>
          </a:p>
        </p:txBody>
      </p:sp>
      <p:pic>
        <p:nvPicPr>
          <p:cNvPr id="119" name="Picture 6" descr="\\eventsql\dvd\Online_ART\DVD_ART36\Artwork_Imagery\Brand Photos\Scenarios\FY08 Brand - Business\man windows laptop sitting desk casual copy.png"/>
          <p:cNvPicPr>
            <a:picLocks noChangeAspect="1" noChangeArrowheads="1"/>
          </p:cNvPicPr>
          <p:nvPr/>
        </p:nvPicPr>
        <p:blipFill>
          <a:blip r:embed="rId8" cstate="print"/>
          <a:srcRect/>
          <a:stretch>
            <a:fillRect/>
          </a:stretch>
        </p:blipFill>
        <p:spPr bwMode="auto">
          <a:xfrm>
            <a:off x="9533598" y="1336700"/>
            <a:ext cx="2417669" cy="2257078"/>
          </a:xfrm>
          <a:prstGeom prst="rect">
            <a:avLst/>
          </a:prstGeom>
          <a:noFill/>
          <a:effectLst>
            <a:softEdge rad="635000"/>
          </a:effectLst>
        </p:spPr>
      </p:pic>
      <p:sp>
        <p:nvSpPr>
          <p:cNvPr id="120" name="Rectangle 119"/>
          <p:cNvSpPr/>
          <p:nvPr/>
        </p:nvSpPr>
        <p:spPr>
          <a:xfrm>
            <a:off x="9402807" y="3083824"/>
            <a:ext cx="1978706" cy="581826"/>
          </a:xfrm>
          <a:prstGeom prst="rect">
            <a:avLst/>
          </a:prstGeom>
        </p:spPr>
        <p:txBody>
          <a:bodyPr wrap="square">
            <a:spAutoFit/>
          </a:bodyPr>
          <a:lstStyle/>
          <a:p>
            <a:pPr algn="r">
              <a:lnSpc>
                <a:spcPts val="2000"/>
              </a:lnSpc>
              <a:spcBef>
                <a:spcPts val="600"/>
              </a:spcBef>
              <a:spcAft>
                <a:spcPts val="800"/>
              </a:spcAft>
              <a:buClr>
                <a:schemeClr val="bg1"/>
              </a:buClr>
              <a:buSzPct val="100000"/>
              <a:defRPr/>
            </a:pP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Visual data </a:t>
            </a:r>
            <a:b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br>
            <a:r>
              <a:rPr lang="en-US" sz="1400" dirty="0">
                <a:solidFill>
                  <a:schemeClr val="bg1"/>
                </a:solidFill>
                <a:effectLst>
                  <a:outerShdw blurRad="50800" dist="38100" dir="2700000" algn="tl" rotWithShape="0">
                    <a:prstClr val="black">
                      <a:alpha val="40000"/>
                    </a:prstClr>
                  </a:outerShdw>
                </a:effectLst>
                <a:latin typeface="Segoe UI" pitchFamily="34" charset="0"/>
                <a:ea typeface="Segoe UI" pitchFamily="34" charset="0"/>
                <a:cs typeface="Segoe UI" pitchFamily="34" charset="0"/>
                <a:sym typeface="Wingdings" pitchFamily="2" charset="2"/>
              </a:rPr>
              <a:t>representation</a:t>
            </a:r>
          </a:p>
        </p:txBody>
      </p:sp>
      <p:sp>
        <p:nvSpPr>
          <p:cNvPr id="49" name="Rectangle 48"/>
          <p:cNvSpPr/>
          <p:nvPr/>
        </p:nvSpPr>
        <p:spPr>
          <a:xfrm rot="1097516">
            <a:off x="10051768" y="1067759"/>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End Users</a:t>
            </a:r>
            <a:endPar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endParaRPr>
          </a:p>
        </p:txBody>
      </p:sp>
      <p:sp>
        <p:nvSpPr>
          <p:cNvPr id="54" name="Rectangle 53"/>
          <p:cNvSpPr/>
          <p:nvPr/>
        </p:nvSpPr>
        <p:spPr>
          <a:xfrm rot="472013">
            <a:off x="7028469" y="538518"/>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Power Users</a:t>
            </a:r>
          </a:p>
        </p:txBody>
      </p:sp>
      <p:sp useBgFill="1">
        <p:nvSpPr>
          <p:cNvPr id="8" name="Rectangle 7"/>
          <p:cNvSpPr/>
          <p:nvPr/>
        </p:nvSpPr>
        <p:spPr bwMode="white">
          <a:xfrm>
            <a:off x="3257246"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189" name="Rectangle 188"/>
          <p:cNvSpPr/>
          <p:nvPr/>
        </p:nvSpPr>
        <p:spPr>
          <a:xfrm rot="21192675">
            <a:off x="2926538" y="530953"/>
            <a:ext cx="2315877" cy="400110"/>
          </a:xfrm>
          <a:prstGeom prst="rect">
            <a:avLst/>
          </a:prstGeom>
        </p:spPr>
        <p:txBody>
          <a:bodyPr wrap="square">
            <a:spAutoFit/>
          </a:bodyPr>
          <a:lstStyle/>
          <a:p>
            <a:pPr algn="ctr">
              <a:lnSpc>
                <a:spcPts val="2400"/>
              </a:lnSpc>
              <a:spcBef>
                <a:spcPts val="600"/>
              </a:spcBef>
              <a:spcAft>
                <a:spcPts val="800"/>
              </a:spcAft>
              <a:buClr>
                <a:schemeClr val="bg1"/>
              </a:buClr>
              <a:buSzPct val="100000"/>
              <a:defRPr/>
            </a:pPr>
            <a:r>
              <a:rPr lang="en-US" b="1" dirty="0">
                <a:solidFill>
                  <a:schemeClr val="bg1"/>
                </a:solidFill>
                <a:effectLst>
                  <a:outerShdw blurRad="50800" dist="38100" dir="2700000" algn="tl" rotWithShape="0">
                    <a:prstClr val="black">
                      <a:alpha val="40000"/>
                    </a:prstClr>
                  </a:outerShdw>
                </a:effectLst>
                <a:latin typeface="Segoe UI Light" pitchFamily="34" charset="0"/>
                <a:ea typeface="Segoe UI" pitchFamily="34" charset="0"/>
                <a:cs typeface="Segoe UI" pitchFamily="34" charset="0"/>
                <a:sym typeface="Wingdings" pitchFamily="2" charset="2"/>
              </a:rPr>
              <a:t>IT Pros</a:t>
            </a:r>
          </a:p>
        </p:txBody>
      </p:sp>
      <p:sp useBgFill="1">
        <p:nvSpPr>
          <p:cNvPr id="37" name="Rectangle 7"/>
          <p:cNvSpPr/>
          <p:nvPr/>
        </p:nvSpPr>
        <p:spPr bwMode="white">
          <a:xfrm flipH="1">
            <a:off x="7273753" y="1144631"/>
            <a:ext cx="1686119" cy="4163242"/>
          </a:xfrm>
          <a:custGeom>
            <a:avLst/>
            <a:gdLst>
              <a:gd name="connsiteX0" fmla="*/ 0 w 133350"/>
              <a:gd name="connsiteY0" fmla="*/ 0 h 3867150"/>
              <a:gd name="connsiteX1" fmla="*/ 133350 w 133350"/>
              <a:gd name="connsiteY1" fmla="*/ 0 h 3867150"/>
              <a:gd name="connsiteX2" fmla="*/ 133350 w 133350"/>
              <a:gd name="connsiteY2" fmla="*/ 3867150 h 3867150"/>
              <a:gd name="connsiteX3" fmla="*/ 0 w 133350"/>
              <a:gd name="connsiteY3" fmla="*/ 3867150 h 3867150"/>
              <a:gd name="connsiteX4" fmla="*/ 0 w 13335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0 w 1143000"/>
              <a:gd name="connsiteY3" fmla="*/ 3867150 h 3867150"/>
              <a:gd name="connsiteX4" fmla="*/ 0 w 1143000"/>
              <a:gd name="connsiteY4" fmla="*/ 0 h 3867150"/>
              <a:gd name="connsiteX0" fmla="*/ 0 w 1143000"/>
              <a:gd name="connsiteY0" fmla="*/ 0 h 3867150"/>
              <a:gd name="connsiteX1" fmla="*/ 133350 w 1143000"/>
              <a:gd name="connsiteY1" fmla="*/ 0 h 3867150"/>
              <a:gd name="connsiteX2" fmla="*/ 1143000 w 1143000"/>
              <a:gd name="connsiteY2" fmla="*/ 3867150 h 3867150"/>
              <a:gd name="connsiteX3" fmla="*/ 695325 w 1143000"/>
              <a:gd name="connsiteY3" fmla="*/ 3867150 h 3867150"/>
              <a:gd name="connsiteX4" fmla="*/ 0 w 1143000"/>
              <a:gd name="connsiteY4" fmla="*/ 0 h 3867150"/>
              <a:gd name="connsiteX0" fmla="*/ 0 w 1143000"/>
              <a:gd name="connsiteY0" fmla="*/ 0 h 3867150"/>
              <a:gd name="connsiteX1" fmla="*/ 609600 w 1143000"/>
              <a:gd name="connsiteY1" fmla="*/ 2028825 h 3867150"/>
              <a:gd name="connsiteX2" fmla="*/ 1143000 w 1143000"/>
              <a:gd name="connsiteY2" fmla="*/ 3867150 h 3867150"/>
              <a:gd name="connsiteX3" fmla="*/ 695325 w 1143000"/>
              <a:gd name="connsiteY3" fmla="*/ 3867150 h 3867150"/>
              <a:gd name="connsiteX4" fmla="*/ 0 w 1143000"/>
              <a:gd name="connsiteY4" fmla="*/ 0 h 3867150"/>
              <a:gd name="connsiteX0" fmla="*/ 0 w 1543594"/>
              <a:gd name="connsiteY0" fmla="*/ 0 h 4032613"/>
              <a:gd name="connsiteX1" fmla="*/ 1010194 w 1543594"/>
              <a:gd name="connsiteY1" fmla="*/ 2194288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543594"/>
              <a:gd name="connsiteY0" fmla="*/ 0 h 4032613"/>
              <a:gd name="connsiteX1" fmla="*/ 870857 w 1543594"/>
              <a:gd name="connsiteY1" fmla="*/ 2298791 h 4032613"/>
              <a:gd name="connsiteX2" fmla="*/ 1543594 w 1543594"/>
              <a:gd name="connsiteY2" fmla="*/ 4032613 h 4032613"/>
              <a:gd name="connsiteX3" fmla="*/ 1095919 w 1543594"/>
              <a:gd name="connsiteY3" fmla="*/ 4032613 h 4032613"/>
              <a:gd name="connsiteX4" fmla="*/ 0 w 1543594"/>
              <a:gd name="connsiteY4" fmla="*/ 0 h 4032613"/>
              <a:gd name="connsiteX0" fmla="*/ 0 w 1613262"/>
              <a:gd name="connsiteY0" fmla="*/ 0 h 4032613"/>
              <a:gd name="connsiteX1" fmla="*/ 940525 w 1613262"/>
              <a:gd name="connsiteY1" fmla="*/ 2298791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613262"/>
              <a:gd name="connsiteY0" fmla="*/ 0 h 4032613"/>
              <a:gd name="connsiteX1" fmla="*/ 949233 w 1613262"/>
              <a:gd name="connsiteY1" fmla="*/ 2377168 h 4032613"/>
              <a:gd name="connsiteX2" fmla="*/ 1613262 w 1613262"/>
              <a:gd name="connsiteY2" fmla="*/ 4032613 h 4032613"/>
              <a:gd name="connsiteX3" fmla="*/ 1165587 w 1613262"/>
              <a:gd name="connsiteY3" fmla="*/ 4032613 h 4032613"/>
              <a:gd name="connsiteX4" fmla="*/ 0 w 1613262"/>
              <a:gd name="connsiteY4" fmla="*/ 0 h 4032613"/>
              <a:gd name="connsiteX0" fmla="*/ 0 w 1264919"/>
              <a:gd name="connsiteY0" fmla="*/ 0 h 4163242"/>
              <a:gd name="connsiteX1" fmla="*/ 600890 w 1264919"/>
              <a:gd name="connsiteY1" fmla="*/ 2507797 h 4163242"/>
              <a:gd name="connsiteX2" fmla="*/ 1264919 w 1264919"/>
              <a:gd name="connsiteY2" fmla="*/ 4163242 h 4163242"/>
              <a:gd name="connsiteX3" fmla="*/ 817244 w 1264919"/>
              <a:gd name="connsiteY3" fmla="*/ 4163242 h 4163242"/>
              <a:gd name="connsiteX4" fmla="*/ 0 w 1264919"/>
              <a:gd name="connsiteY4" fmla="*/ 0 h 4163242"/>
              <a:gd name="connsiteX0" fmla="*/ 0 w 1264919"/>
              <a:gd name="connsiteY0" fmla="*/ 0 h 4163242"/>
              <a:gd name="connsiteX1" fmla="*/ 766353 w 1264919"/>
              <a:gd name="connsiteY1" fmla="*/ 2472962 h 4163242"/>
              <a:gd name="connsiteX2" fmla="*/ 1264919 w 1264919"/>
              <a:gd name="connsiteY2" fmla="*/ 4163242 h 4163242"/>
              <a:gd name="connsiteX3" fmla="*/ 817244 w 1264919"/>
              <a:gd name="connsiteY3" fmla="*/ 4163242 h 4163242"/>
              <a:gd name="connsiteX4" fmla="*/ 0 w 1264919"/>
              <a:gd name="connsiteY4" fmla="*/ 0 h 4163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919" h="4163242">
                <a:moveTo>
                  <a:pt x="0" y="0"/>
                </a:moveTo>
                <a:lnTo>
                  <a:pt x="766353" y="2472962"/>
                </a:lnTo>
                <a:lnTo>
                  <a:pt x="1264919" y="4163242"/>
                </a:lnTo>
                <a:lnTo>
                  <a:pt x="817244" y="4163242"/>
                </a:lnTo>
                <a:lnTo>
                  <a:pt x="0" y="0"/>
                </a:lnTo>
                <a:close/>
              </a:path>
            </a:pathLst>
          </a:custGeom>
          <a:blipFill dpi="0" rotWithShape="0">
            <a:blip r:embed="rId9">
              <a:lum/>
            </a:blip>
            <a:srcRect/>
            <a:stretch>
              <a:fillRect l="-1950000" t="-30049" r="-4807143" b="-47291"/>
            </a:stretch>
          </a:blip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pitchFamily="34" charset="0"/>
            </a:endParaRPr>
          </a:p>
        </p:txBody>
      </p:sp>
      <p:sp>
        <p:nvSpPr>
          <p:cNvPr id="36" name="Left-Right Arrow 35"/>
          <p:cNvSpPr/>
          <p:nvPr/>
        </p:nvSpPr>
        <p:spPr bwMode="auto">
          <a:xfrm>
            <a:off x="1269670" y="5934076"/>
            <a:ext cx="9712969" cy="923925"/>
          </a:xfrm>
          <a:prstGeom prst="leftRightArrow">
            <a:avLst/>
          </a:prstGeom>
          <a:gradFill>
            <a:gsLst>
              <a:gs pos="0">
                <a:schemeClr val="accent1">
                  <a:lumMod val="75000"/>
                </a:schemeClr>
              </a:gs>
              <a:gs pos="80000">
                <a:schemeClr val="accent1">
                  <a:lumMod val="50000"/>
                </a:schemeClr>
              </a:gs>
              <a:gs pos="100000">
                <a:schemeClr val="accent1">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chemeClr val="bg1"/>
              </a:solidFill>
              <a:effectLst>
                <a:outerShdw blurRad="38100" dist="38100" dir="2700000" algn="tl">
                  <a:srgbClr val="000000">
                    <a:alpha val="43137"/>
                  </a:srgbClr>
                </a:outerShdw>
              </a:effectLst>
              <a:latin typeface="Segoe UI Light" pitchFamily="34" charset="0"/>
            </a:endParaRPr>
          </a:p>
        </p:txBody>
      </p:sp>
      <p:sp>
        <p:nvSpPr>
          <p:cNvPr id="38" name="Rectangle 37"/>
          <p:cNvSpPr/>
          <p:nvPr/>
        </p:nvSpPr>
        <p:spPr>
          <a:xfrm>
            <a:off x="1834095" y="6215032"/>
            <a:ext cx="8648521" cy="400110"/>
          </a:xfrm>
          <a:prstGeom prst="rect">
            <a:avLst/>
          </a:prstGeom>
        </p:spPr>
        <p:txBody>
          <a:bodyPr wrap="none">
            <a:spAutoFit/>
          </a:bodyPr>
          <a:lstStyle/>
          <a:p>
            <a:pPr algn="ctr">
              <a:lnSpc>
                <a:spcPts val="2400"/>
              </a:lnSpc>
              <a:spcBef>
                <a:spcPts val="600"/>
              </a:spcBef>
              <a:spcAft>
                <a:spcPts val="800"/>
              </a:spcAft>
              <a:buClr>
                <a:schemeClr val="bg1"/>
              </a:buClr>
              <a:buSzPct val="100000"/>
              <a:defRPr/>
            </a:pPr>
            <a:r>
              <a:rPr lang="en-US" b="1" dirty="0" smtClean="0">
                <a:solidFill>
                  <a:schemeClr val="bg1"/>
                </a:solidFill>
                <a:latin typeface="Segoe UI Light" pitchFamily="34" charset="0"/>
                <a:ea typeface="Segoe UI" pitchFamily="34" charset="0"/>
                <a:cs typeface="Segoe UI" pitchFamily="34" charset="0"/>
                <a:sym typeface="Wingdings" pitchFamily="2" charset="2"/>
              </a:rPr>
              <a:t>Embedded	</a:t>
            </a:r>
            <a:r>
              <a:rPr lang="en-US" b="1" dirty="0">
                <a:solidFill>
                  <a:schemeClr val="bg1"/>
                </a:solidFill>
                <a:latin typeface="Segoe UI Light" pitchFamily="34" charset="0"/>
                <a:ea typeface="Segoe UI" pitchFamily="34" charset="0"/>
                <a:cs typeface="Segoe UI" pitchFamily="34" charset="0"/>
                <a:sym typeface="Wingdings" pitchFamily="2" charset="2"/>
              </a:rPr>
              <a:t>	</a:t>
            </a:r>
            <a:r>
              <a:rPr lang="en-US" b="1" dirty="0" smtClean="0">
                <a:solidFill>
                  <a:schemeClr val="bg1"/>
                </a:solidFill>
                <a:latin typeface="Segoe UI Light" pitchFamily="34" charset="0"/>
                <a:ea typeface="Segoe UI" pitchFamily="34" charset="0"/>
                <a:cs typeface="Segoe UI" pitchFamily="34" charset="0"/>
                <a:sym typeface="Wingdings" pitchFamily="2" charset="2"/>
              </a:rPr>
              <a:t>Operational			Business</a:t>
            </a:r>
            <a:endParaRPr lang="en-US" b="1" dirty="0">
              <a:solidFill>
                <a:schemeClr val="bg1"/>
              </a:solidFill>
              <a:latin typeface="Segoe UI Light" pitchFamily="34" charset="0"/>
              <a:ea typeface="Segoe UI" pitchFamily="34" charset="0"/>
              <a:cs typeface="Segoe UI" pitchFamily="34" charset="0"/>
              <a:sym typeface="Wingdings" pitchFamily="2" charset="2"/>
            </a:endParaRPr>
          </a:p>
        </p:txBody>
      </p:sp>
      <p:sp>
        <p:nvSpPr>
          <p:cNvPr id="39" name="Rounded Rectangle 38"/>
          <p:cNvSpPr/>
          <p:nvPr/>
        </p:nvSpPr>
        <p:spPr bwMode="auto">
          <a:xfrm>
            <a:off x="8072648" y="5357970"/>
            <a:ext cx="2147558" cy="442674"/>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fontAlgn="base">
              <a:lnSpc>
                <a:spcPts val="2400"/>
              </a:lnSpc>
              <a:spcBef>
                <a:spcPts val="600"/>
              </a:spcBef>
              <a:spcAft>
                <a:spcPts val="800"/>
              </a:spcAft>
              <a:buClr>
                <a:schemeClr val="bg1"/>
              </a:buClr>
              <a:buSzPct val="100000"/>
            </a:pPr>
            <a:r>
              <a:rPr lang="en-US" altLang="zh-CN" sz="1600" b="1" dirty="0">
                <a:latin typeface="Segoe UI" pitchFamily="34" charset="0"/>
                <a:ea typeface="Segoe UI" pitchFamily="34" charset="0"/>
                <a:cs typeface="Segoe UI" pitchFamily="34" charset="0"/>
              </a:rPr>
              <a:t>Power </a:t>
            </a:r>
            <a:r>
              <a:rPr lang="en-US" altLang="zh-CN" sz="1600" b="1" dirty="0" smtClean="0">
                <a:latin typeface="Segoe UI" pitchFamily="34" charset="0"/>
                <a:ea typeface="Segoe UI" pitchFamily="34" charset="0"/>
                <a:cs typeface="Segoe UI" pitchFamily="34" charset="0"/>
              </a:rPr>
              <a:t>View</a:t>
            </a:r>
          </a:p>
        </p:txBody>
      </p:sp>
    </p:spTree>
    <p:extLst>
      <p:ext uri="{BB962C8B-B14F-4D97-AF65-F5344CB8AC3E}">
        <p14:creationId xmlns:p14="http://schemas.microsoft.com/office/powerpoint/2010/main" val="136661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230e9df3-be65-4c73-a93b-d1236ebd677e"/>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purl.org/dc/term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849</TotalTime>
  <Words>1340</Words>
  <Application>Microsoft Office PowerPoint</Application>
  <PresentationFormat>Custom</PresentationFormat>
  <Paragraphs>178</Paragraphs>
  <Slides>21</Slides>
  <Notes>1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2" baseType="lpstr">
      <vt:lpstr>Segoe</vt:lpstr>
      <vt:lpstr>Arial</vt:lpstr>
      <vt:lpstr>Consolas</vt:lpstr>
      <vt:lpstr>Segoe UI</vt:lpstr>
      <vt:lpstr>Segoe UI Light</vt:lpstr>
      <vt:lpstr>Wingdings</vt:lpstr>
      <vt:lpstr>MS1444_Windows Azure Template 16x9_r08a</vt:lpstr>
      <vt:lpstr>White with Consolas font for code slides</vt:lpstr>
      <vt:lpstr>MS1444_Windows Azure Template 16x9_r08b</vt:lpstr>
      <vt:lpstr>1_White with Consolas font for code slides</vt:lpstr>
      <vt:lpstr>think-cell Slide</vt:lpstr>
      <vt:lpstr>Excel Power Tools</vt:lpstr>
      <vt:lpstr>Excel Power Tools</vt:lpstr>
      <vt:lpstr>Agenda</vt:lpstr>
      <vt:lpstr>PowerPoint Presentation</vt:lpstr>
      <vt:lpstr>What is PowerPivot?</vt:lpstr>
      <vt:lpstr>PowerPivot Versions</vt:lpstr>
      <vt:lpstr>What is Power View?</vt:lpstr>
      <vt:lpstr>SharePoint Architecture</vt:lpstr>
      <vt:lpstr>PowerPoint Presentation</vt:lpstr>
      <vt:lpstr>PowerPivot, Power View Demo</vt:lpstr>
      <vt:lpstr>Current State of the Art</vt:lpstr>
      <vt:lpstr>The Data tab – the old way</vt:lpstr>
      <vt:lpstr>PowerPoint Presentation</vt:lpstr>
      <vt:lpstr>Why Power Query?</vt:lpstr>
      <vt:lpstr>Connecting Excel and Hadoop on Windows Azure</vt:lpstr>
      <vt:lpstr>Microsoft Big Data Solution</vt:lpstr>
      <vt:lpstr>PowerMap</vt:lpstr>
      <vt:lpstr>PowerPoint Presentation</vt:lpstr>
      <vt:lpstr>References</vt:lpstr>
      <vt:lpstr>Excel Power Too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 In Windows Azure</dc:title>
  <dc:subject>Windows Azure</dc:subject>
  <dc:creator>wenmingy</dc:creator>
  <dc:description>In this presentation you'll better understand the role of Big Data in the cloud and how Windows Azure &amp; Hadoop work together.
by wenmingy</dc:description>
  <cp:lastModifiedBy>Wenming Ye</cp:lastModifiedBy>
  <cp:revision>418</cp:revision>
  <cp:lastPrinted>2011-10-11T14:25:22Z</cp:lastPrinted>
  <dcterms:created xsi:type="dcterms:W3CDTF">2011-03-29T16:07:22Z</dcterms:created>
  <dcterms:modified xsi:type="dcterms:W3CDTF">2013-10-10T03:18:3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